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2" r:id="rId2"/>
    <p:sldMasterId id="2147483779" r:id="rId3"/>
  </p:sldMasterIdLst>
  <p:notesMasterIdLst>
    <p:notesMasterId r:id="rId45"/>
  </p:notesMasterIdLst>
  <p:sldIdLst>
    <p:sldId id="308" r:id="rId4"/>
    <p:sldId id="296" r:id="rId5"/>
    <p:sldId id="393" r:id="rId6"/>
    <p:sldId id="386" r:id="rId7"/>
    <p:sldId id="2147375039" r:id="rId8"/>
    <p:sldId id="436" r:id="rId9"/>
    <p:sldId id="343" r:id="rId10"/>
    <p:sldId id="437" r:id="rId11"/>
    <p:sldId id="439" r:id="rId12"/>
    <p:sldId id="440" r:id="rId13"/>
    <p:sldId id="441" r:id="rId14"/>
    <p:sldId id="442" r:id="rId15"/>
    <p:sldId id="438" r:id="rId16"/>
    <p:sldId id="443" r:id="rId17"/>
    <p:sldId id="444" r:id="rId18"/>
    <p:sldId id="445" r:id="rId19"/>
    <p:sldId id="446" r:id="rId20"/>
    <p:sldId id="447" r:id="rId21"/>
    <p:sldId id="448" r:id="rId22"/>
    <p:sldId id="449" r:id="rId23"/>
    <p:sldId id="450" r:id="rId24"/>
    <p:sldId id="451" r:id="rId25"/>
    <p:sldId id="452" r:id="rId26"/>
    <p:sldId id="453" r:id="rId27"/>
    <p:sldId id="454" r:id="rId28"/>
    <p:sldId id="455" r:id="rId29"/>
    <p:sldId id="457" r:id="rId30"/>
    <p:sldId id="460" r:id="rId31"/>
    <p:sldId id="461" r:id="rId32"/>
    <p:sldId id="463" r:id="rId33"/>
    <p:sldId id="464" r:id="rId34"/>
    <p:sldId id="465" r:id="rId35"/>
    <p:sldId id="466" r:id="rId36"/>
    <p:sldId id="467" r:id="rId37"/>
    <p:sldId id="468" r:id="rId38"/>
    <p:sldId id="469" r:id="rId39"/>
    <p:sldId id="470" r:id="rId40"/>
    <p:sldId id="459" r:id="rId41"/>
    <p:sldId id="471" r:id="rId42"/>
    <p:sldId id="472" r:id="rId43"/>
    <p:sldId id="26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00FF"/>
    <a:srgbClr val="CFAAFF"/>
    <a:srgbClr val="C161FF"/>
    <a:srgbClr val="A101FF"/>
    <a:srgbClr val="B440FF"/>
    <a:srgbClr val="97978C"/>
    <a:srgbClr val="8915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7BCCB4-595A-41B8-8332-4FD1F68DA3C8}" v="1" dt="2022-05-23T10:52:43.262"/>
    <p1510:client id="{B82BF873-1815-C155-5842-BB7429DA0498}" v="15" dt="2022-05-23T10:52:05.1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936"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 Id="rId51"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sarda, Nada Rizqiana" userId="8c04d34e-9362-4c99-a544-2d7331fa0cbb" providerId="ADAL" clId="{03D2ACE5-D0DA-46A7-BE7A-39C088FCB1BE}"/>
    <pc:docChg chg="delSld">
      <pc:chgData name="Lusarda, Nada Rizqiana" userId="8c04d34e-9362-4c99-a544-2d7331fa0cbb" providerId="ADAL" clId="{03D2ACE5-D0DA-46A7-BE7A-39C088FCB1BE}" dt="2022-03-02T06:23:03.796" v="0" actId="47"/>
      <pc:docMkLst>
        <pc:docMk/>
      </pc:docMkLst>
      <pc:sldChg chg="del">
        <pc:chgData name="Lusarda, Nada Rizqiana" userId="8c04d34e-9362-4c99-a544-2d7331fa0cbb" providerId="ADAL" clId="{03D2ACE5-D0DA-46A7-BE7A-39C088FCB1BE}" dt="2022-03-02T06:23:03.796" v="0" actId="47"/>
        <pc:sldMkLst>
          <pc:docMk/>
          <pc:sldMk cId="1917080401" sldId="2146849402"/>
        </pc:sldMkLst>
      </pc:sldChg>
    </pc:docChg>
  </pc:docChgLst>
  <pc:docChgLst>
    <pc:chgData name="Poerwiyanto Poerwiyanto" userId="a725a366-b70b-4264-b349-f7b93c0e291f" providerId="ADAL" clId="{24C967FB-D541-4020-8855-C7DE326E5945}"/>
    <pc:docChg chg="modSld">
      <pc:chgData name="Poerwiyanto Poerwiyanto" userId="a725a366-b70b-4264-b349-f7b93c0e291f" providerId="ADAL" clId="{24C967FB-D541-4020-8855-C7DE326E5945}" dt="2022-05-23T16:47:37.378" v="2" actId="20577"/>
      <pc:docMkLst>
        <pc:docMk/>
      </pc:docMkLst>
      <pc:sldChg chg="modSp mod">
        <pc:chgData name="Poerwiyanto Poerwiyanto" userId="a725a366-b70b-4264-b349-f7b93c0e291f" providerId="ADAL" clId="{24C967FB-D541-4020-8855-C7DE326E5945}" dt="2022-05-23T16:47:37.378" v="2" actId="20577"/>
        <pc:sldMkLst>
          <pc:docMk/>
          <pc:sldMk cId="4000332270" sldId="442"/>
        </pc:sldMkLst>
        <pc:spChg chg="mod">
          <ac:chgData name="Poerwiyanto Poerwiyanto" userId="a725a366-b70b-4264-b349-f7b93c0e291f" providerId="ADAL" clId="{24C967FB-D541-4020-8855-C7DE326E5945}" dt="2022-05-23T16:47:37.378" v="2" actId="20577"/>
          <ac:spMkLst>
            <pc:docMk/>
            <pc:sldMk cId="4000332270" sldId="442"/>
            <ac:spMk id="3" creationId="{D28A6797-48C6-4420-B292-163D7C7B7802}"/>
          </ac:spMkLst>
        </pc:spChg>
      </pc:sldChg>
    </pc:docChg>
  </pc:docChgLst>
  <pc:docChgLst>
    <pc:chgData name="Yasmin, Inge" userId="6c3c80dd-7f6a-44e2-9ebd-5183e747c2e9" providerId="ADAL" clId="{64A7BA29-298F-4460-8882-A0F85B3906CA}"/>
    <pc:docChg chg="undo custSel addSld delSld modSld sldOrd">
      <pc:chgData name="Yasmin, Inge" userId="6c3c80dd-7f6a-44e2-9ebd-5183e747c2e9" providerId="ADAL" clId="{64A7BA29-298F-4460-8882-A0F85B3906CA}" dt="2022-03-02T02:09:21.103" v="5399" actId="404"/>
      <pc:docMkLst>
        <pc:docMk/>
      </pc:docMkLst>
      <pc:sldChg chg="mod modShow">
        <pc:chgData name="Yasmin, Inge" userId="6c3c80dd-7f6a-44e2-9ebd-5183e747c2e9" providerId="ADAL" clId="{64A7BA29-298F-4460-8882-A0F85B3906CA}" dt="2022-03-01T15:40:30.209" v="1762" actId="729"/>
        <pc:sldMkLst>
          <pc:docMk/>
          <pc:sldMk cId="1019583079" sldId="341"/>
        </pc:sldMkLst>
      </pc:sldChg>
      <pc:sldChg chg="modSp del mod">
        <pc:chgData name="Yasmin, Inge" userId="6c3c80dd-7f6a-44e2-9ebd-5183e747c2e9" providerId="ADAL" clId="{64A7BA29-298F-4460-8882-A0F85B3906CA}" dt="2022-03-01T15:21:32.096" v="1271" actId="2696"/>
        <pc:sldMkLst>
          <pc:docMk/>
          <pc:sldMk cId="2266783062" sldId="375"/>
        </pc:sldMkLst>
        <pc:spChg chg="mod">
          <ac:chgData name="Yasmin, Inge" userId="6c3c80dd-7f6a-44e2-9ebd-5183e747c2e9" providerId="ADAL" clId="{64A7BA29-298F-4460-8882-A0F85B3906CA}" dt="2022-02-23T15:54:14.535" v="1149" actId="20577"/>
          <ac:spMkLst>
            <pc:docMk/>
            <pc:sldMk cId="2266783062" sldId="375"/>
            <ac:spMk id="2" creationId="{BA4E00DA-2AFA-4A16-B2CA-72AA18CE50F1}"/>
          </ac:spMkLst>
        </pc:spChg>
      </pc:sldChg>
      <pc:sldChg chg="addSp delSp modSp del mod ord">
        <pc:chgData name="Yasmin, Inge" userId="6c3c80dd-7f6a-44e2-9ebd-5183e747c2e9" providerId="ADAL" clId="{64A7BA29-298F-4460-8882-A0F85B3906CA}" dt="2022-02-23T15:59:53.565" v="1200" actId="2696"/>
        <pc:sldMkLst>
          <pc:docMk/>
          <pc:sldMk cId="1972092450" sldId="384"/>
        </pc:sldMkLst>
        <pc:spChg chg="mod">
          <ac:chgData name="Yasmin, Inge" userId="6c3c80dd-7f6a-44e2-9ebd-5183e747c2e9" providerId="ADAL" clId="{64A7BA29-298F-4460-8882-A0F85B3906CA}" dt="2022-02-23T15:38:01.755" v="579" actId="14100"/>
          <ac:spMkLst>
            <pc:docMk/>
            <pc:sldMk cId="1972092450" sldId="384"/>
            <ac:spMk id="2" creationId="{00ACB9DD-8FFD-4E15-8D79-5D668302D2B5}"/>
          </ac:spMkLst>
        </pc:spChg>
        <pc:spChg chg="del">
          <ac:chgData name="Yasmin, Inge" userId="6c3c80dd-7f6a-44e2-9ebd-5183e747c2e9" providerId="ADAL" clId="{64A7BA29-298F-4460-8882-A0F85B3906CA}" dt="2022-02-23T15:38:13.609" v="581" actId="478"/>
          <ac:spMkLst>
            <pc:docMk/>
            <pc:sldMk cId="1972092450" sldId="384"/>
            <ac:spMk id="3" creationId="{E9CE53F5-568D-48E3-BBB6-7D6A7D2EEAEF}"/>
          </ac:spMkLst>
        </pc:spChg>
        <pc:spChg chg="mod">
          <ac:chgData name="Yasmin, Inge" userId="6c3c80dd-7f6a-44e2-9ebd-5183e747c2e9" providerId="ADAL" clId="{64A7BA29-298F-4460-8882-A0F85B3906CA}" dt="2022-02-23T15:44:23.738" v="834" actId="120"/>
          <ac:spMkLst>
            <pc:docMk/>
            <pc:sldMk cId="1972092450" sldId="384"/>
            <ac:spMk id="4" creationId="{821BFC0E-3E9A-4079-9258-3B43411979F5}"/>
          </ac:spMkLst>
        </pc:spChg>
        <pc:spChg chg="mod">
          <ac:chgData name="Yasmin, Inge" userId="6c3c80dd-7f6a-44e2-9ebd-5183e747c2e9" providerId="ADAL" clId="{64A7BA29-298F-4460-8882-A0F85B3906CA}" dt="2022-02-23T15:44:29.535" v="836" actId="120"/>
          <ac:spMkLst>
            <pc:docMk/>
            <pc:sldMk cId="1972092450" sldId="384"/>
            <ac:spMk id="5" creationId="{AB23E088-E9F9-4541-A207-FA0497C2B07F}"/>
          </ac:spMkLst>
        </pc:spChg>
        <pc:spChg chg="mod">
          <ac:chgData name="Yasmin, Inge" userId="6c3c80dd-7f6a-44e2-9ebd-5183e747c2e9" providerId="ADAL" clId="{64A7BA29-298F-4460-8882-A0F85B3906CA}" dt="2022-02-23T15:47:25.391" v="1071" actId="20577"/>
          <ac:spMkLst>
            <pc:docMk/>
            <pc:sldMk cId="1972092450" sldId="384"/>
            <ac:spMk id="6" creationId="{D7B9CA9A-2B3A-4E62-B8BD-26AAF6E2C547}"/>
          </ac:spMkLst>
        </pc:spChg>
        <pc:spChg chg="mod">
          <ac:chgData name="Yasmin, Inge" userId="6c3c80dd-7f6a-44e2-9ebd-5183e747c2e9" providerId="ADAL" clId="{64A7BA29-298F-4460-8882-A0F85B3906CA}" dt="2022-02-23T15:45:40.703" v="936" actId="12"/>
          <ac:spMkLst>
            <pc:docMk/>
            <pc:sldMk cId="1972092450" sldId="384"/>
            <ac:spMk id="7" creationId="{C543CF97-1F42-4B28-80E2-2DF7C4911CBE}"/>
          </ac:spMkLst>
        </pc:spChg>
        <pc:spChg chg="mod">
          <ac:chgData name="Yasmin, Inge" userId="6c3c80dd-7f6a-44e2-9ebd-5183e747c2e9" providerId="ADAL" clId="{64A7BA29-298F-4460-8882-A0F85B3906CA}" dt="2022-02-23T15:46:23.957" v="987" actId="120"/>
          <ac:spMkLst>
            <pc:docMk/>
            <pc:sldMk cId="1972092450" sldId="384"/>
            <ac:spMk id="8" creationId="{A92456CA-3753-4502-835E-5BD975686B56}"/>
          </ac:spMkLst>
        </pc:spChg>
        <pc:spChg chg="del">
          <ac:chgData name="Yasmin, Inge" userId="6c3c80dd-7f6a-44e2-9ebd-5183e747c2e9" providerId="ADAL" clId="{64A7BA29-298F-4460-8882-A0F85B3906CA}" dt="2022-02-23T15:38:13.609" v="581" actId="478"/>
          <ac:spMkLst>
            <pc:docMk/>
            <pc:sldMk cId="1972092450" sldId="384"/>
            <ac:spMk id="9" creationId="{61895A80-84FB-4E0B-A1AE-9B61DEEE281B}"/>
          </ac:spMkLst>
        </pc:spChg>
        <pc:spChg chg="del">
          <ac:chgData name="Yasmin, Inge" userId="6c3c80dd-7f6a-44e2-9ebd-5183e747c2e9" providerId="ADAL" clId="{64A7BA29-298F-4460-8882-A0F85B3906CA}" dt="2022-02-23T15:38:13.609" v="581" actId="478"/>
          <ac:spMkLst>
            <pc:docMk/>
            <pc:sldMk cId="1972092450" sldId="384"/>
            <ac:spMk id="10" creationId="{4DF7E407-AC35-4DED-8C4B-D66B2F553411}"/>
          </ac:spMkLst>
        </pc:spChg>
        <pc:spChg chg="del">
          <ac:chgData name="Yasmin, Inge" userId="6c3c80dd-7f6a-44e2-9ebd-5183e747c2e9" providerId="ADAL" clId="{64A7BA29-298F-4460-8882-A0F85B3906CA}" dt="2022-02-23T15:38:13.609" v="581" actId="478"/>
          <ac:spMkLst>
            <pc:docMk/>
            <pc:sldMk cId="1972092450" sldId="384"/>
            <ac:spMk id="11" creationId="{8A71C5DD-9CCE-40CD-AB19-D76E5058917B}"/>
          </ac:spMkLst>
        </pc:spChg>
        <pc:spChg chg="del">
          <ac:chgData name="Yasmin, Inge" userId="6c3c80dd-7f6a-44e2-9ebd-5183e747c2e9" providerId="ADAL" clId="{64A7BA29-298F-4460-8882-A0F85B3906CA}" dt="2022-02-23T15:38:13.609" v="581" actId="478"/>
          <ac:spMkLst>
            <pc:docMk/>
            <pc:sldMk cId="1972092450" sldId="384"/>
            <ac:spMk id="12" creationId="{3B576273-AE33-4EA5-945A-23417FC35C3E}"/>
          </ac:spMkLst>
        </pc:spChg>
        <pc:spChg chg="del">
          <ac:chgData name="Yasmin, Inge" userId="6c3c80dd-7f6a-44e2-9ebd-5183e747c2e9" providerId="ADAL" clId="{64A7BA29-298F-4460-8882-A0F85B3906CA}" dt="2022-02-23T15:38:06.072" v="580" actId="21"/>
          <ac:spMkLst>
            <pc:docMk/>
            <pc:sldMk cId="1972092450" sldId="384"/>
            <ac:spMk id="14" creationId="{5E9719C6-B424-483B-B805-D1248DB661C7}"/>
          </ac:spMkLst>
        </pc:spChg>
        <pc:spChg chg="add del mod">
          <ac:chgData name="Yasmin, Inge" userId="6c3c80dd-7f6a-44e2-9ebd-5183e747c2e9" providerId="ADAL" clId="{64A7BA29-298F-4460-8882-A0F85B3906CA}" dt="2022-02-23T15:38:18.557" v="582" actId="21"/>
          <ac:spMkLst>
            <pc:docMk/>
            <pc:sldMk cId="1972092450" sldId="384"/>
            <ac:spMk id="17" creationId="{4F151080-5A29-4D99-A2D0-686F70A56FA7}"/>
          </ac:spMkLst>
        </pc:spChg>
        <pc:spChg chg="add mod">
          <ac:chgData name="Yasmin, Inge" userId="6c3c80dd-7f6a-44e2-9ebd-5183e747c2e9" providerId="ADAL" clId="{64A7BA29-298F-4460-8882-A0F85B3906CA}" dt="2022-02-23T15:42:35.326" v="737" actId="14100"/>
          <ac:spMkLst>
            <pc:docMk/>
            <pc:sldMk cId="1972092450" sldId="384"/>
            <ac:spMk id="18" creationId="{0FAE2460-0596-4723-A68F-A5AC7018766E}"/>
          </ac:spMkLst>
        </pc:spChg>
        <pc:spChg chg="add mod">
          <ac:chgData name="Yasmin, Inge" userId="6c3c80dd-7f6a-44e2-9ebd-5183e747c2e9" providerId="ADAL" clId="{64A7BA29-298F-4460-8882-A0F85B3906CA}" dt="2022-02-23T15:42:28.775" v="736" actId="14100"/>
          <ac:spMkLst>
            <pc:docMk/>
            <pc:sldMk cId="1972092450" sldId="384"/>
            <ac:spMk id="19" creationId="{1163078B-7C0B-4622-B4A5-11C66D1F41F7}"/>
          </ac:spMkLst>
        </pc:spChg>
        <pc:spChg chg="add mod">
          <ac:chgData name="Yasmin, Inge" userId="6c3c80dd-7f6a-44e2-9ebd-5183e747c2e9" providerId="ADAL" clId="{64A7BA29-298F-4460-8882-A0F85B3906CA}" dt="2022-02-23T15:42:28.775" v="736" actId="14100"/>
          <ac:spMkLst>
            <pc:docMk/>
            <pc:sldMk cId="1972092450" sldId="384"/>
            <ac:spMk id="20" creationId="{6FA1AB3B-85FC-458A-9FD3-37BCBC9D0343}"/>
          </ac:spMkLst>
        </pc:spChg>
        <pc:spChg chg="add mod">
          <ac:chgData name="Yasmin, Inge" userId="6c3c80dd-7f6a-44e2-9ebd-5183e747c2e9" providerId="ADAL" clId="{64A7BA29-298F-4460-8882-A0F85B3906CA}" dt="2022-02-23T15:42:28.775" v="736" actId="14100"/>
          <ac:spMkLst>
            <pc:docMk/>
            <pc:sldMk cId="1972092450" sldId="384"/>
            <ac:spMk id="21" creationId="{8982783F-4037-44EE-A4BA-38D0FB1EF15A}"/>
          </ac:spMkLst>
        </pc:spChg>
        <pc:spChg chg="add mod">
          <ac:chgData name="Yasmin, Inge" userId="6c3c80dd-7f6a-44e2-9ebd-5183e747c2e9" providerId="ADAL" clId="{64A7BA29-298F-4460-8882-A0F85B3906CA}" dt="2022-02-23T15:42:28.775" v="736" actId="14100"/>
          <ac:spMkLst>
            <pc:docMk/>
            <pc:sldMk cId="1972092450" sldId="384"/>
            <ac:spMk id="22" creationId="{D7935776-A10A-4468-9DD1-2509A257BF4C}"/>
          </ac:spMkLst>
        </pc:spChg>
        <pc:spChg chg="add mod">
          <ac:chgData name="Yasmin, Inge" userId="6c3c80dd-7f6a-44e2-9ebd-5183e747c2e9" providerId="ADAL" clId="{64A7BA29-298F-4460-8882-A0F85B3906CA}" dt="2022-02-23T15:46:37.097" v="988" actId="767"/>
          <ac:spMkLst>
            <pc:docMk/>
            <pc:sldMk cId="1972092450" sldId="384"/>
            <ac:spMk id="23" creationId="{800EE177-F7DE-4FA2-91B2-F29AFA8C86C4}"/>
          </ac:spMkLst>
        </pc:spChg>
        <pc:spChg chg="add mod ord">
          <ac:chgData name="Yasmin, Inge" userId="6c3c80dd-7f6a-44e2-9ebd-5183e747c2e9" providerId="ADAL" clId="{64A7BA29-298F-4460-8882-A0F85B3906CA}" dt="2022-02-23T15:50:38.858" v="1098" actId="1076"/>
          <ac:spMkLst>
            <pc:docMk/>
            <pc:sldMk cId="1972092450" sldId="384"/>
            <ac:spMk id="24" creationId="{AC5CA6EF-3EC4-4A59-B17D-17C67AD96C19}"/>
          </ac:spMkLst>
        </pc:spChg>
        <pc:picChg chg="add del">
          <ac:chgData name="Yasmin, Inge" userId="6c3c80dd-7f6a-44e2-9ebd-5183e747c2e9" providerId="ADAL" clId="{64A7BA29-298F-4460-8882-A0F85B3906CA}" dt="2022-02-23T15:49:50.999" v="1095" actId="22"/>
          <ac:picMkLst>
            <pc:docMk/>
            <pc:sldMk cId="1972092450" sldId="384"/>
            <ac:picMk id="26" creationId="{D5E999F1-319F-4C54-88F5-9B3EFAA3A83E}"/>
          </ac:picMkLst>
        </pc:picChg>
      </pc:sldChg>
      <pc:sldChg chg="addSp delSp modSp mod ord">
        <pc:chgData name="Yasmin, Inge" userId="6c3c80dd-7f6a-44e2-9ebd-5183e747c2e9" providerId="ADAL" clId="{64A7BA29-298F-4460-8882-A0F85B3906CA}" dt="2022-03-01T16:52:33.411" v="2745" actId="1582"/>
        <pc:sldMkLst>
          <pc:docMk/>
          <pc:sldMk cId="3267253309" sldId="386"/>
        </pc:sldMkLst>
        <pc:spChg chg="del mod">
          <ac:chgData name="Yasmin, Inge" userId="6c3c80dd-7f6a-44e2-9ebd-5183e747c2e9" providerId="ADAL" clId="{64A7BA29-298F-4460-8882-A0F85B3906CA}" dt="2022-02-23T15:33:44.318" v="440" actId="931"/>
          <ac:spMkLst>
            <pc:docMk/>
            <pc:sldMk cId="3267253309" sldId="386"/>
            <ac:spMk id="2" creationId="{A42808FB-F6D8-4B2C-B4D8-57164A6BD9E3}"/>
          </ac:spMkLst>
        </pc:spChg>
        <pc:spChg chg="mod">
          <ac:chgData name="Yasmin, Inge" userId="6c3c80dd-7f6a-44e2-9ebd-5183e747c2e9" providerId="ADAL" clId="{64A7BA29-298F-4460-8882-A0F85B3906CA}" dt="2022-02-23T15:01:42.094" v="221" actId="14100"/>
          <ac:spMkLst>
            <pc:docMk/>
            <pc:sldMk cId="3267253309" sldId="386"/>
            <ac:spMk id="3" creationId="{2468C5EC-397E-4FF7-B71B-E534E0B1EB42}"/>
          </ac:spMkLst>
        </pc:spChg>
        <pc:spChg chg="mod">
          <ac:chgData name="Yasmin, Inge" userId="6c3c80dd-7f6a-44e2-9ebd-5183e747c2e9" providerId="ADAL" clId="{64A7BA29-298F-4460-8882-A0F85B3906CA}" dt="2022-02-23T15:01:42.094" v="221" actId="14100"/>
          <ac:spMkLst>
            <pc:docMk/>
            <pc:sldMk cId="3267253309" sldId="386"/>
            <ac:spMk id="4" creationId="{02790A5B-1055-4BC4-868E-B062673777FE}"/>
          </ac:spMkLst>
        </pc:spChg>
        <pc:spChg chg="mod">
          <ac:chgData name="Yasmin, Inge" userId="6c3c80dd-7f6a-44e2-9ebd-5183e747c2e9" providerId="ADAL" clId="{64A7BA29-298F-4460-8882-A0F85B3906CA}" dt="2022-02-23T15:01:42.094" v="221" actId="14100"/>
          <ac:spMkLst>
            <pc:docMk/>
            <pc:sldMk cId="3267253309" sldId="386"/>
            <ac:spMk id="5" creationId="{1E1B1180-6216-460C-B068-1C7B6E80926C}"/>
          </ac:spMkLst>
        </pc:spChg>
        <pc:spChg chg="mod">
          <ac:chgData name="Yasmin, Inge" userId="6c3c80dd-7f6a-44e2-9ebd-5183e747c2e9" providerId="ADAL" clId="{64A7BA29-298F-4460-8882-A0F85B3906CA}" dt="2022-02-23T15:07:30.055" v="260" actId="1076"/>
          <ac:spMkLst>
            <pc:docMk/>
            <pc:sldMk cId="3267253309" sldId="386"/>
            <ac:spMk id="6" creationId="{0F4F26FB-B27B-4E94-B4CF-46D52BF6B119}"/>
          </ac:spMkLst>
        </pc:spChg>
        <pc:spChg chg="mod">
          <ac:chgData name="Yasmin, Inge" userId="6c3c80dd-7f6a-44e2-9ebd-5183e747c2e9" providerId="ADAL" clId="{64A7BA29-298F-4460-8882-A0F85B3906CA}" dt="2022-02-23T15:01:49.602" v="222" actId="1076"/>
          <ac:spMkLst>
            <pc:docMk/>
            <pc:sldMk cId="3267253309" sldId="386"/>
            <ac:spMk id="7" creationId="{1D8A5781-AB1A-4783-BCF3-88F7DA840F6A}"/>
          </ac:spMkLst>
        </pc:spChg>
        <pc:spChg chg="mod">
          <ac:chgData name="Yasmin, Inge" userId="6c3c80dd-7f6a-44e2-9ebd-5183e747c2e9" providerId="ADAL" clId="{64A7BA29-298F-4460-8882-A0F85B3906CA}" dt="2022-02-23T15:01:52.602" v="223" actId="1076"/>
          <ac:spMkLst>
            <pc:docMk/>
            <pc:sldMk cId="3267253309" sldId="386"/>
            <ac:spMk id="8" creationId="{B1CBC798-0A27-4AA6-9D01-407FE72B25C4}"/>
          </ac:spMkLst>
        </pc:spChg>
        <pc:spChg chg="mod">
          <ac:chgData name="Yasmin, Inge" userId="6c3c80dd-7f6a-44e2-9ebd-5183e747c2e9" providerId="ADAL" clId="{64A7BA29-298F-4460-8882-A0F85B3906CA}" dt="2022-02-23T15:01:55.310" v="224" actId="1076"/>
          <ac:spMkLst>
            <pc:docMk/>
            <pc:sldMk cId="3267253309" sldId="386"/>
            <ac:spMk id="9" creationId="{8CB2E3F4-4610-43E1-9AC7-E84A61C6F211}"/>
          </ac:spMkLst>
        </pc:spChg>
        <pc:spChg chg="mod">
          <ac:chgData name="Yasmin, Inge" userId="6c3c80dd-7f6a-44e2-9ebd-5183e747c2e9" providerId="ADAL" clId="{64A7BA29-298F-4460-8882-A0F85B3906CA}" dt="2022-02-23T15:18:45.289" v="303" actId="404"/>
          <ac:spMkLst>
            <pc:docMk/>
            <pc:sldMk cId="3267253309" sldId="386"/>
            <ac:spMk id="10" creationId="{C6FFC140-B5BE-41BD-BCF7-6C14875834E7}"/>
          </ac:spMkLst>
        </pc:spChg>
        <pc:spChg chg="add mod topLvl">
          <ac:chgData name="Yasmin, Inge" userId="6c3c80dd-7f6a-44e2-9ebd-5183e747c2e9" providerId="ADAL" clId="{64A7BA29-298F-4460-8882-A0F85B3906CA}" dt="2022-03-01T16:52:11.457" v="2744" actId="208"/>
          <ac:spMkLst>
            <pc:docMk/>
            <pc:sldMk cId="3267253309" sldId="386"/>
            <ac:spMk id="14" creationId="{716F51AC-3C85-4595-8296-FBDD3FF42D4C}"/>
          </ac:spMkLst>
        </pc:spChg>
        <pc:spChg chg="mod topLvl">
          <ac:chgData name="Yasmin, Inge" userId="6c3c80dd-7f6a-44e2-9ebd-5183e747c2e9" providerId="ADAL" clId="{64A7BA29-298F-4460-8882-A0F85B3906CA}" dt="2022-03-01T16:52:33.411" v="2745" actId="1582"/>
          <ac:spMkLst>
            <pc:docMk/>
            <pc:sldMk cId="3267253309" sldId="386"/>
            <ac:spMk id="16" creationId="{C5F24DD3-25B5-4296-B37D-57D246367869}"/>
          </ac:spMkLst>
        </pc:spChg>
        <pc:spChg chg="mod topLvl">
          <ac:chgData name="Yasmin, Inge" userId="6c3c80dd-7f6a-44e2-9ebd-5183e747c2e9" providerId="ADAL" clId="{64A7BA29-298F-4460-8882-A0F85B3906CA}" dt="2022-03-01T16:52:11.457" v="2744" actId="208"/>
          <ac:spMkLst>
            <pc:docMk/>
            <pc:sldMk cId="3267253309" sldId="386"/>
            <ac:spMk id="17" creationId="{890FE26E-A2DA-4512-A20E-BDFDFA29F33B}"/>
          </ac:spMkLst>
        </pc:spChg>
        <pc:spChg chg="mod topLvl">
          <ac:chgData name="Yasmin, Inge" userId="6c3c80dd-7f6a-44e2-9ebd-5183e747c2e9" providerId="ADAL" clId="{64A7BA29-298F-4460-8882-A0F85B3906CA}" dt="2022-03-01T16:52:11.457" v="2744" actId="208"/>
          <ac:spMkLst>
            <pc:docMk/>
            <pc:sldMk cId="3267253309" sldId="386"/>
            <ac:spMk id="21" creationId="{76336CE9-EFBE-4ED0-8709-993C5FF8B4FF}"/>
          </ac:spMkLst>
        </pc:spChg>
        <pc:spChg chg="del mod topLvl">
          <ac:chgData name="Yasmin, Inge" userId="6c3c80dd-7f6a-44e2-9ebd-5183e747c2e9" providerId="ADAL" clId="{64A7BA29-298F-4460-8882-A0F85B3906CA}" dt="2022-02-23T15:28:04.610" v="316" actId="478"/>
          <ac:spMkLst>
            <pc:docMk/>
            <pc:sldMk cId="3267253309" sldId="386"/>
            <ac:spMk id="22" creationId="{988770A4-0661-4908-87B2-B78797EF84F9}"/>
          </ac:spMkLst>
        </pc:spChg>
        <pc:spChg chg="del mod">
          <ac:chgData name="Yasmin, Inge" userId="6c3c80dd-7f6a-44e2-9ebd-5183e747c2e9" providerId="ADAL" clId="{64A7BA29-298F-4460-8882-A0F85B3906CA}" dt="2022-02-23T15:28:00.809" v="315" actId="478"/>
          <ac:spMkLst>
            <pc:docMk/>
            <pc:sldMk cId="3267253309" sldId="386"/>
            <ac:spMk id="23" creationId="{637647D0-6B05-4DDC-8235-154548EE5EC4}"/>
          </ac:spMkLst>
        </pc:spChg>
        <pc:spChg chg="add del mod topLvl">
          <ac:chgData name="Yasmin, Inge" userId="6c3c80dd-7f6a-44e2-9ebd-5183e747c2e9" providerId="ADAL" clId="{64A7BA29-298F-4460-8882-A0F85B3906CA}" dt="2022-03-01T16:52:04.167" v="2743" actId="208"/>
          <ac:spMkLst>
            <pc:docMk/>
            <pc:sldMk cId="3267253309" sldId="386"/>
            <ac:spMk id="25" creationId="{DF274E3C-2132-498F-8FCE-614700C5885F}"/>
          </ac:spMkLst>
        </pc:spChg>
        <pc:spChg chg="del mod topLvl">
          <ac:chgData name="Yasmin, Inge" userId="6c3c80dd-7f6a-44e2-9ebd-5183e747c2e9" providerId="ADAL" clId="{64A7BA29-298F-4460-8882-A0F85B3906CA}" dt="2022-02-23T15:13:35.955" v="277" actId="478"/>
          <ac:spMkLst>
            <pc:docMk/>
            <pc:sldMk cId="3267253309" sldId="386"/>
            <ac:spMk id="26" creationId="{BA38C219-569D-408D-9C0D-58778328A7C6}"/>
          </ac:spMkLst>
        </pc:spChg>
        <pc:spChg chg="del mod">
          <ac:chgData name="Yasmin, Inge" userId="6c3c80dd-7f6a-44e2-9ebd-5183e747c2e9" providerId="ADAL" clId="{64A7BA29-298F-4460-8882-A0F85B3906CA}" dt="2022-02-23T15:13:35.955" v="277" actId="478"/>
          <ac:spMkLst>
            <pc:docMk/>
            <pc:sldMk cId="3267253309" sldId="386"/>
            <ac:spMk id="27" creationId="{B286E377-75D1-4DBC-8D56-CEF465E3CEB3}"/>
          </ac:spMkLst>
        </pc:spChg>
        <pc:spChg chg="mod topLvl">
          <ac:chgData name="Yasmin, Inge" userId="6c3c80dd-7f6a-44e2-9ebd-5183e747c2e9" providerId="ADAL" clId="{64A7BA29-298F-4460-8882-A0F85B3906CA}" dt="2022-03-01T16:52:11.457" v="2744" actId="208"/>
          <ac:spMkLst>
            <pc:docMk/>
            <pc:sldMk cId="3267253309" sldId="386"/>
            <ac:spMk id="29" creationId="{0BDACE71-E444-4E90-A869-CC8A3D62F3F5}"/>
          </ac:spMkLst>
        </pc:spChg>
        <pc:spChg chg="del mod">
          <ac:chgData name="Yasmin, Inge" userId="6c3c80dd-7f6a-44e2-9ebd-5183e747c2e9" providerId="ADAL" clId="{64A7BA29-298F-4460-8882-A0F85B3906CA}" dt="2022-02-23T15:18:00.273" v="297" actId="478"/>
          <ac:spMkLst>
            <pc:docMk/>
            <pc:sldMk cId="3267253309" sldId="386"/>
            <ac:spMk id="30" creationId="{C0E2E296-D827-4422-8476-CCD616A86E8E}"/>
          </ac:spMkLst>
        </pc:spChg>
        <pc:spChg chg="del mod topLvl">
          <ac:chgData name="Yasmin, Inge" userId="6c3c80dd-7f6a-44e2-9ebd-5183e747c2e9" providerId="ADAL" clId="{64A7BA29-298F-4460-8882-A0F85B3906CA}" dt="2022-02-23T15:18:04.182" v="298" actId="478"/>
          <ac:spMkLst>
            <pc:docMk/>
            <pc:sldMk cId="3267253309" sldId="386"/>
            <ac:spMk id="31" creationId="{50893DBF-22E3-40C9-A0A3-2E55CA28C785}"/>
          </ac:spMkLst>
        </pc:spChg>
        <pc:spChg chg="add del mod">
          <ac:chgData name="Yasmin, Inge" userId="6c3c80dd-7f6a-44e2-9ebd-5183e747c2e9" providerId="ADAL" clId="{64A7BA29-298F-4460-8882-A0F85B3906CA}" dt="2022-02-23T15:24:17.301" v="304" actId="478"/>
          <ac:spMkLst>
            <pc:docMk/>
            <pc:sldMk cId="3267253309" sldId="386"/>
            <ac:spMk id="32" creationId="{28A24436-AEB2-4AD2-A8CD-10671F564AB9}"/>
          </ac:spMkLst>
        </pc:spChg>
        <pc:spChg chg="add mod">
          <ac:chgData name="Yasmin, Inge" userId="6c3c80dd-7f6a-44e2-9ebd-5183e747c2e9" providerId="ADAL" clId="{64A7BA29-298F-4460-8882-A0F85B3906CA}" dt="2022-02-23T15:24:57.750" v="313" actId="1076"/>
          <ac:spMkLst>
            <pc:docMk/>
            <pc:sldMk cId="3267253309" sldId="386"/>
            <ac:spMk id="33" creationId="{CFB2DF77-E57E-453A-9B56-A605651FB2EC}"/>
          </ac:spMkLst>
        </pc:spChg>
        <pc:spChg chg="mod">
          <ac:chgData name="Yasmin, Inge" userId="6c3c80dd-7f6a-44e2-9ebd-5183e747c2e9" providerId="ADAL" clId="{64A7BA29-298F-4460-8882-A0F85B3906CA}" dt="2022-02-23T15:24:35.857" v="308" actId="208"/>
          <ac:spMkLst>
            <pc:docMk/>
            <pc:sldMk cId="3267253309" sldId="386"/>
            <ac:spMk id="35" creationId="{43677858-6DD0-4C53-ACE6-3431A413A4F4}"/>
          </ac:spMkLst>
        </pc:spChg>
        <pc:spChg chg="mod">
          <ac:chgData name="Yasmin, Inge" userId="6c3c80dd-7f6a-44e2-9ebd-5183e747c2e9" providerId="ADAL" clId="{64A7BA29-298F-4460-8882-A0F85B3906CA}" dt="2022-02-23T15:24:35.857" v="308" actId="208"/>
          <ac:spMkLst>
            <pc:docMk/>
            <pc:sldMk cId="3267253309" sldId="386"/>
            <ac:spMk id="36" creationId="{8EBA3F18-9261-4887-B55C-9A1A9C9F655D}"/>
          </ac:spMkLst>
        </pc:spChg>
        <pc:spChg chg="mod">
          <ac:chgData name="Yasmin, Inge" userId="6c3c80dd-7f6a-44e2-9ebd-5183e747c2e9" providerId="ADAL" clId="{64A7BA29-298F-4460-8882-A0F85B3906CA}" dt="2022-02-23T15:28:20.165" v="321" actId="208"/>
          <ac:spMkLst>
            <pc:docMk/>
            <pc:sldMk cId="3267253309" sldId="386"/>
            <ac:spMk id="38" creationId="{9DE191FF-7B57-4610-A686-7904C0F9AD30}"/>
          </ac:spMkLst>
        </pc:spChg>
        <pc:spChg chg="mod">
          <ac:chgData name="Yasmin, Inge" userId="6c3c80dd-7f6a-44e2-9ebd-5183e747c2e9" providerId="ADAL" clId="{64A7BA29-298F-4460-8882-A0F85B3906CA}" dt="2022-02-23T15:28:20.165" v="321" actId="208"/>
          <ac:spMkLst>
            <pc:docMk/>
            <pc:sldMk cId="3267253309" sldId="386"/>
            <ac:spMk id="39" creationId="{7D43B182-EC4D-418F-9235-A1CA3C400CDA}"/>
          </ac:spMkLst>
        </pc:spChg>
        <pc:spChg chg="mod">
          <ac:chgData name="Yasmin, Inge" userId="6c3c80dd-7f6a-44e2-9ebd-5183e747c2e9" providerId="ADAL" clId="{64A7BA29-298F-4460-8882-A0F85B3906CA}" dt="2022-02-23T15:28:20.165" v="321" actId="208"/>
          <ac:spMkLst>
            <pc:docMk/>
            <pc:sldMk cId="3267253309" sldId="386"/>
            <ac:spMk id="40" creationId="{0973339A-AAA5-41F8-9C07-070E727A41BB}"/>
          </ac:spMkLst>
        </pc:spChg>
        <pc:spChg chg="mod">
          <ac:chgData name="Yasmin, Inge" userId="6c3c80dd-7f6a-44e2-9ebd-5183e747c2e9" providerId="ADAL" clId="{64A7BA29-298F-4460-8882-A0F85B3906CA}" dt="2022-02-23T15:28:20.165" v="321" actId="208"/>
          <ac:spMkLst>
            <pc:docMk/>
            <pc:sldMk cId="3267253309" sldId="386"/>
            <ac:spMk id="41" creationId="{D874A262-47CC-4612-94AE-AA628D500446}"/>
          </ac:spMkLst>
        </pc:spChg>
        <pc:spChg chg="mod">
          <ac:chgData name="Yasmin, Inge" userId="6c3c80dd-7f6a-44e2-9ebd-5183e747c2e9" providerId="ADAL" clId="{64A7BA29-298F-4460-8882-A0F85B3906CA}" dt="2022-02-23T15:28:20.165" v="321" actId="208"/>
          <ac:spMkLst>
            <pc:docMk/>
            <pc:sldMk cId="3267253309" sldId="386"/>
            <ac:spMk id="42" creationId="{7D9C30E3-0574-4B59-8B52-94B6B5B78468}"/>
          </ac:spMkLst>
        </pc:spChg>
        <pc:spChg chg="mod">
          <ac:chgData name="Yasmin, Inge" userId="6c3c80dd-7f6a-44e2-9ebd-5183e747c2e9" providerId="ADAL" clId="{64A7BA29-298F-4460-8882-A0F85B3906CA}" dt="2022-02-23T15:28:20.165" v="321" actId="208"/>
          <ac:spMkLst>
            <pc:docMk/>
            <pc:sldMk cId="3267253309" sldId="386"/>
            <ac:spMk id="43" creationId="{D04377D6-861C-4FBB-B63D-5D1719F8B5B2}"/>
          </ac:spMkLst>
        </pc:spChg>
        <pc:spChg chg="mod">
          <ac:chgData name="Yasmin, Inge" userId="6c3c80dd-7f6a-44e2-9ebd-5183e747c2e9" providerId="ADAL" clId="{64A7BA29-298F-4460-8882-A0F85B3906CA}" dt="2022-02-23T15:28:20.165" v="321" actId="208"/>
          <ac:spMkLst>
            <pc:docMk/>
            <pc:sldMk cId="3267253309" sldId="386"/>
            <ac:spMk id="44" creationId="{CF9836A0-4F6D-49BE-8260-FC14BDF37970}"/>
          </ac:spMkLst>
        </pc:spChg>
        <pc:spChg chg="mod">
          <ac:chgData name="Yasmin, Inge" userId="6c3c80dd-7f6a-44e2-9ebd-5183e747c2e9" providerId="ADAL" clId="{64A7BA29-298F-4460-8882-A0F85B3906CA}" dt="2022-02-23T15:28:20.165" v="321" actId="208"/>
          <ac:spMkLst>
            <pc:docMk/>
            <pc:sldMk cId="3267253309" sldId="386"/>
            <ac:spMk id="45" creationId="{BE307FFE-841B-4DCC-B81C-262604EC8015}"/>
          </ac:spMkLst>
        </pc:spChg>
        <pc:spChg chg="mod">
          <ac:chgData name="Yasmin, Inge" userId="6c3c80dd-7f6a-44e2-9ebd-5183e747c2e9" providerId="ADAL" clId="{64A7BA29-298F-4460-8882-A0F85B3906CA}" dt="2022-02-23T15:28:20.165" v="321" actId="208"/>
          <ac:spMkLst>
            <pc:docMk/>
            <pc:sldMk cId="3267253309" sldId="386"/>
            <ac:spMk id="46" creationId="{675816F9-FF4A-479A-985D-41C7048B75DC}"/>
          </ac:spMkLst>
        </pc:spChg>
        <pc:spChg chg="add mod">
          <ac:chgData name="Yasmin, Inge" userId="6c3c80dd-7f6a-44e2-9ebd-5183e747c2e9" providerId="ADAL" clId="{64A7BA29-298F-4460-8882-A0F85B3906CA}" dt="2022-02-23T15:31:58.482" v="439" actId="20577"/>
          <ac:spMkLst>
            <pc:docMk/>
            <pc:sldMk cId="3267253309" sldId="386"/>
            <ac:spMk id="51" creationId="{8945BAF7-7AC6-4F5C-916E-14D8225F1CDC}"/>
          </ac:spMkLst>
        </pc:spChg>
        <pc:spChg chg="add del mod">
          <ac:chgData name="Yasmin, Inge" userId="6c3c80dd-7f6a-44e2-9ebd-5183e747c2e9" providerId="ADAL" clId="{64A7BA29-298F-4460-8882-A0F85B3906CA}" dt="2022-02-23T15:36:29.640" v="506" actId="478"/>
          <ac:spMkLst>
            <pc:docMk/>
            <pc:sldMk cId="3267253309" sldId="386"/>
            <ac:spMk id="54" creationId="{05D81607-BCFC-45B9-832A-86B0D26FF1F8}"/>
          </ac:spMkLst>
        </pc:spChg>
        <pc:grpChg chg="add del mod">
          <ac:chgData name="Yasmin, Inge" userId="6c3c80dd-7f6a-44e2-9ebd-5183e747c2e9" providerId="ADAL" clId="{64A7BA29-298F-4460-8882-A0F85B3906CA}" dt="2022-02-23T15:07:59.405" v="261" actId="165"/>
          <ac:grpSpMkLst>
            <pc:docMk/>
            <pc:sldMk cId="3267253309" sldId="386"/>
            <ac:grpSpMk id="15" creationId="{30642E77-DE2B-4BF9-B15C-B7A2DC3027D2}"/>
          </ac:grpSpMkLst>
        </pc:grpChg>
        <pc:grpChg chg="add del mod">
          <ac:chgData name="Yasmin, Inge" userId="6c3c80dd-7f6a-44e2-9ebd-5183e747c2e9" providerId="ADAL" clId="{64A7BA29-298F-4460-8882-A0F85B3906CA}" dt="2022-02-23T15:08:36.982" v="270" actId="1076"/>
          <ac:grpSpMkLst>
            <pc:docMk/>
            <pc:sldMk cId="3267253309" sldId="386"/>
            <ac:grpSpMk id="18" creationId="{529AAECE-5DFD-4CA6-BDE0-417D17B23599}"/>
          </ac:grpSpMkLst>
        </pc:grpChg>
        <pc:grpChg chg="add mod">
          <ac:chgData name="Yasmin, Inge" userId="6c3c80dd-7f6a-44e2-9ebd-5183e747c2e9" providerId="ADAL" clId="{64A7BA29-298F-4460-8882-A0F85B3906CA}" dt="2022-02-23T15:08:35.952" v="268" actId="338"/>
          <ac:grpSpMkLst>
            <pc:docMk/>
            <pc:sldMk cId="3267253309" sldId="386"/>
            <ac:grpSpMk id="19" creationId="{3A4F651D-F2E8-4EAB-B7DF-68A41D6EAA76}"/>
          </ac:grpSpMkLst>
        </pc:grpChg>
        <pc:grpChg chg="add del mod">
          <ac:chgData name="Yasmin, Inge" userId="6c3c80dd-7f6a-44e2-9ebd-5183e747c2e9" providerId="ADAL" clId="{64A7BA29-298F-4460-8882-A0F85B3906CA}" dt="2022-02-23T15:28:04.610" v="316" actId="478"/>
          <ac:grpSpMkLst>
            <pc:docMk/>
            <pc:sldMk cId="3267253309" sldId="386"/>
            <ac:grpSpMk id="20" creationId="{B177DC5F-5977-410E-A0C4-F8E97F421CD3}"/>
          </ac:grpSpMkLst>
        </pc:grpChg>
        <pc:grpChg chg="add del mod">
          <ac:chgData name="Yasmin, Inge" userId="6c3c80dd-7f6a-44e2-9ebd-5183e747c2e9" providerId="ADAL" clId="{64A7BA29-298F-4460-8882-A0F85B3906CA}" dt="2022-02-23T15:13:35.955" v="277" actId="478"/>
          <ac:grpSpMkLst>
            <pc:docMk/>
            <pc:sldMk cId="3267253309" sldId="386"/>
            <ac:grpSpMk id="24" creationId="{030E5D9B-FAB3-4543-9F21-F825BD414525}"/>
          </ac:grpSpMkLst>
        </pc:grpChg>
        <pc:grpChg chg="add del mod">
          <ac:chgData name="Yasmin, Inge" userId="6c3c80dd-7f6a-44e2-9ebd-5183e747c2e9" providerId="ADAL" clId="{64A7BA29-298F-4460-8882-A0F85B3906CA}" dt="2022-02-23T15:18:04.182" v="298" actId="478"/>
          <ac:grpSpMkLst>
            <pc:docMk/>
            <pc:sldMk cId="3267253309" sldId="386"/>
            <ac:grpSpMk id="28" creationId="{344D47D7-AA69-453A-B1C4-3D04D4BFF3E9}"/>
          </ac:grpSpMkLst>
        </pc:grpChg>
        <pc:grpChg chg="add mod">
          <ac:chgData name="Yasmin, Inge" userId="6c3c80dd-7f6a-44e2-9ebd-5183e747c2e9" providerId="ADAL" clId="{64A7BA29-298F-4460-8882-A0F85B3906CA}" dt="2022-02-23T15:24:44.031" v="311" actId="1038"/>
          <ac:grpSpMkLst>
            <pc:docMk/>
            <pc:sldMk cId="3267253309" sldId="386"/>
            <ac:grpSpMk id="34" creationId="{71288BD5-96FA-4D46-B63A-01F266306C37}"/>
          </ac:grpSpMkLst>
        </pc:grpChg>
        <pc:grpChg chg="add mod">
          <ac:chgData name="Yasmin, Inge" userId="6c3c80dd-7f6a-44e2-9ebd-5183e747c2e9" providerId="ADAL" clId="{64A7BA29-298F-4460-8882-A0F85B3906CA}" dt="2022-02-23T15:28:28.007" v="322" actId="1076"/>
          <ac:grpSpMkLst>
            <pc:docMk/>
            <pc:sldMk cId="3267253309" sldId="386"/>
            <ac:grpSpMk id="37" creationId="{49EDBCAF-59AA-4299-BED3-CA18438473BA}"/>
          </ac:grpSpMkLst>
        </pc:grpChg>
        <pc:picChg chg="add del mod">
          <ac:chgData name="Yasmin, Inge" userId="6c3c80dd-7f6a-44e2-9ebd-5183e747c2e9" providerId="ADAL" clId="{64A7BA29-298F-4460-8882-A0F85B3906CA}" dt="2022-02-23T15:05:24.995" v="251" actId="21"/>
          <ac:picMkLst>
            <pc:docMk/>
            <pc:sldMk cId="3267253309" sldId="386"/>
            <ac:picMk id="13" creationId="{2E01A950-3B0A-4A74-810C-13EAC2F294D1}"/>
          </ac:picMkLst>
        </pc:picChg>
        <pc:picChg chg="add mod">
          <ac:chgData name="Yasmin, Inge" userId="6c3c80dd-7f6a-44e2-9ebd-5183e747c2e9" providerId="ADAL" clId="{64A7BA29-298F-4460-8882-A0F85B3906CA}" dt="2022-02-23T15:33:44.318" v="440" actId="931"/>
          <ac:picMkLst>
            <pc:docMk/>
            <pc:sldMk cId="3267253309" sldId="386"/>
            <ac:picMk id="53" creationId="{E7211648-2649-45F0-B23B-47CB040A742F}"/>
          </ac:picMkLst>
        </pc:picChg>
        <pc:cxnChg chg="add mod">
          <ac:chgData name="Yasmin, Inge" userId="6c3c80dd-7f6a-44e2-9ebd-5183e747c2e9" providerId="ADAL" clId="{64A7BA29-298F-4460-8882-A0F85B3906CA}" dt="2022-02-23T15:30:38.613" v="394" actId="14100"/>
          <ac:cxnSpMkLst>
            <pc:docMk/>
            <pc:sldMk cId="3267253309" sldId="386"/>
            <ac:cxnSpMk id="48" creationId="{B00729A3-4581-44AD-ABA7-302E0A85BA41}"/>
          </ac:cxnSpMkLst>
        </pc:cxnChg>
        <pc:cxnChg chg="add mod">
          <ac:chgData name="Yasmin, Inge" userId="6c3c80dd-7f6a-44e2-9ebd-5183e747c2e9" providerId="ADAL" clId="{64A7BA29-298F-4460-8882-A0F85B3906CA}" dt="2022-02-23T15:30:46.744" v="398" actId="14100"/>
          <ac:cxnSpMkLst>
            <pc:docMk/>
            <pc:sldMk cId="3267253309" sldId="386"/>
            <ac:cxnSpMk id="49" creationId="{31657BC9-10DA-4FFD-B830-9C07D9453AEE}"/>
          </ac:cxnSpMkLst>
        </pc:cxnChg>
        <pc:cxnChg chg="add mod">
          <ac:chgData name="Yasmin, Inge" userId="6c3c80dd-7f6a-44e2-9ebd-5183e747c2e9" providerId="ADAL" clId="{64A7BA29-298F-4460-8882-A0F85B3906CA}" dt="2022-02-23T15:30:42.236" v="396" actId="14100"/>
          <ac:cxnSpMkLst>
            <pc:docMk/>
            <pc:sldMk cId="3267253309" sldId="386"/>
            <ac:cxnSpMk id="50" creationId="{7AFD346A-5F91-448B-BD5D-7A6A8C2FF651}"/>
          </ac:cxnSpMkLst>
        </pc:cxnChg>
      </pc:sldChg>
      <pc:sldChg chg="new del">
        <pc:chgData name="Yasmin, Inge" userId="6c3c80dd-7f6a-44e2-9ebd-5183e747c2e9" providerId="ADAL" clId="{64A7BA29-298F-4460-8882-A0F85B3906CA}" dt="2022-02-23T15:37:07.280" v="508" actId="2696"/>
        <pc:sldMkLst>
          <pc:docMk/>
          <pc:sldMk cId="169273196" sldId="395"/>
        </pc:sldMkLst>
      </pc:sldChg>
      <pc:sldChg chg="addSp delSp modSp add mod ord">
        <pc:chgData name="Yasmin, Inge" userId="6c3c80dd-7f6a-44e2-9ebd-5183e747c2e9" providerId="ADAL" clId="{64A7BA29-298F-4460-8882-A0F85B3906CA}" dt="2022-02-23T15:59:44.719" v="1199" actId="167"/>
        <pc:sldMkLst>
          <pc:docMk/>
          <pc:sldMk cId="2821762031" sldId="395"/>
        </pc:sldMkLst>
        <pc:spChg chg="mod">
          <ac:chgData name="Yasmin, Inge" userId="6c3c80dd-7f6a-44e2-9ebd-5183e747c2e9" providerId="ADAL" clId="{64A7BA29-298F-4460-8882-A0F85B3906CA}" dt="2022-02-23T15:56:01.499" v="1157"/>
          <ac:spMkLst>
            <pc:docMk/>
            <pc:sldMk cId="2821762031" sldId="395"/>
            <ac:spMk id="2" creationId="{BA4E00DA-2AFA-4A16-B2CA-72AA18CE50F1}"/>
          </ac:spMkLst>
        </pc:spChg>
        <pc:spChg chg="del">
          <ac:chgData name="Yasmin, Inge" userId="6c3c80dd-7f6a-44e2-9ebd-5183e747c2e9" providerId="ADAL" clId="{64A7BA29-298F-4460-8882-A0F85B3906CA}" dt="2022-02-23T15:56:05.563" v="1158" actId="21"/>
          <ac:spMkLst>
            <pc:docMk/>
            <pc:sldMk cId="2821762031" sldId="395"/>
            <ac:spMk id="3" creationId="{E4AAE27E-CBF1-4085-B0FC-34D018BB1937}"/>
          </ac:spMkLst>
        </pc:spChg>
        <pc:spChg chg="add del mod">
          <ac:chgData name="Yasmin, Inge" userId="6c3c80dd-7f6a-44e2-9ebd-5183e747c2e9" providerId="ADAL" clId="{64A7BA29-298F-4460-8882-A0F85B3906CA}" dt="2022-02-23T15:56:08.734" v="1159" actId="21"/>
          <ac:spMkLst>
            <pc:docMk/>
            <pc:sldMk cId="2821762031" sldId="395"/>
            <ac:spMk id="7" creationId="{3D08FE03-C7E2-47A7-9FFC-CBCA4DC7C538}"/>
          </ac:spMkLst>
        </pc:spChg>
        <pc:spChg chg="add mod">
          <ac:chgData name="Yasmin, Inge" userId="6c3c80dd-7f6a-44e2-9ebd-5183e747c2e9" providerId="ADAL" clId="{64A7BA29-298F-4460-8882-A0F85B3906CA}" dt="2022-02-23T15:59:05.231" v="1195" actId="242"/>
          <ac:spMkLst>
            <pc:docMk/>
            <pc:sldMk cId="2821762031" sldId="395"/>
            <ac:spMk id="8" creationId="{02DAA8FA-87EE-41B5-A63E-19E1710C045D}"/>
          </ac:spMkLst>
        </pc:spChg>
        <pc:spChg chg="add mod">
          <ac:chgData name="Yasmin, Inge" userId="6c3c80dd-7f6a-44e2-9ebd-5183e747c2e9" providerId="ADAL" clId="{64A7BA29-298F-4460-8882-A0F85B3906CA}" dt="2022-02-23T15:59:05.231" v="1195" actId="242"/>
          <ac:spMkLst>
            <pc:docMk/>
            <pc:sldMk cId="2821762031" sldId="395"/>
            <ac:spMk id="9" creationId="{9642F52A-3238-4077-9DF8-DAA1E027CB4E}"/>
          </ac:spMkLst>
        </pc:spChg>
        <pc:spChg chg="add mod">
          <ac:chgData name="Yasmin, Inge" userId="6c3c80dd-7f6a-44e2-9ebd-5183e747c2e9" providerId="ADAL" clId="{64A7BA29-298F-4460-8882-A0F85B3906CA}" dt="2022-02-23T15:59:05.231" v="1195" actId="242"/>
          <ac:spMkLst>
            <pc:docMk/>
            <pc:sldMk cId="2821762031" sldId="395"/>
            <ac:spMk id="10" creationId="{278DCE5E-2FBF-4DF6-8672-23E49AA3BC51}"/>
          </ac:spMkLst>
        </pc:spChg>
        <pc:spChg chg="add mod">
          <ac:chgData name="Yasmin, Inge" userId="6c3c80dd-7f6a-44e2-9ebd-5183e747c2e9" providerId="ADAL" clId="{64A7BA29-298F-4460-8882-A0F85B3906CA}" dt="2022-02-23T15:59:05.231" v="1195" actId="242"/>
          <ac:spMkLst>
            <pc:docMk/>
            <pc:sldMk cId="2821762031" sldId="395"/>
            <ac:spMk id="11" creationId="{9E4590EA-E115-4A8D-B7B4-D8768CE65ABB}"/>
          </ac:spMkLst>
        </pc:spChg>
        <pc:spChg chg="add mod">
          <ac:chgData name="Yasmin, Inge" userId="6c3c80dd-7f6a-44e2-9ebd-5183e747c2e9" providerId="ADAL" clId="{64A7BA29-298F-4460-8882-A0F85B3906CA}" dt="2022-02-23T15:59:05.231" v="1195" actId="242"/>
          <ac:spMkLst>
            <pc:docMk/>
            <pc:sldMk cId="2821762031" sldId="395"/>
            <ac:spMk id="12" creationId="{8D94E997-F7BE-487C-99D9-C330AD313ACE}"/>
          </ac:spMkLst>
        </pc:spChg>
        <pc:spChg chg="add mod">
          <ac:chgData name="Yasmin, Inge" userId="6c3c80dd-7f6a-44e2-9ebd-5183e747c2e9" providerId="ADAL" clId="{64A7BA29-298F-4460-8882-A0F85B3906CA}" dt="2022-02-23T15:58:07.466" v="1191" actId="1036"/>
          <ac:spMkLst>
            <pc:docMk/>
            <pc:sldMk cId="2821762031" sldId="395"/>
            <ac:spMk id="13" creationId="{946922F9-E289-4FB2-80F4-5D69E2150956}"/>
          </ac:spMkLst>
        </pc:spChg>
        <pc:spChg chg="add mod">
          <ac:chgData name="Yasmin, Inge" userId="6c3c80dd-7f6a-44e2-9ebd-5183e747c2e9" providerId="ADAL" clId="{64A7BA29-298F-4460-8882-A0F85B3906CA}" dt="2022-02-23T15:58:07.466" v="1191" actId="1036"/>
          <ac:spMkLst>
            <pc:docMk/>
            <pc:sldMk cId="2821762031" sldId="395"/>
            <ac:spMk id="14" creationId="{0D6353E5-FB6A-4865-AD51-139E832D1B23}"/>
          </ac:spMkLst>
        </pc:spChg>
        <pc:spChg chg="add mod">
          <ac:chgData name="Yasmin, Inge" userId="6c3c80dd-7f6a-44e2-9ebd-5183e747c2e9" providerId="ADAL" clId="{64A7BA29-298F-4460-8882-A0F85B3906CA}" dt="2022-02-23T15:58:07.466" v="1191" actId="1036"/>
          <ac:spMkLst>
            <pc:docMk/>
            <pc:sldMk cId="2821762031" sldId="395"/>
            <ac:spMk id="15" creationId="{5A070014-94D6-4EDF-BB4E-1F453AFC98E8}"/>
          </ac:spMkLst>
        </pc:spChg>
        <pc:spChg chg="add mod">
          <ac:chgData name="Yasmin, Inge" userId="6c3c80dd-7f6a-44e2-9ebd-5183e747c2e9" providerId="ADAL" clId="{64A7BA29-298F-4460-8882-A0F85B3906CA}" dt="2022-02-23T15:58:07.466" v="1191" actId="1036"/>
          <ac:spMkLst>
            <pc:docMk/>
            <pc:sldMk cId="2821762031" sldId="395"/>
            <ac:spMk id="16" creationId="{7F923042-01BA-4E45-8120-88CD3F6FF3EC}"/>
          </ac:spMkLst>
        </pc:spChg>
        <pc:spChg chg="add mod">
          <ac:chgData name="Yasmin, Inge" userId="6c3c80dd-7f6a-44e2-9ebd-5183e747c2e9" providerId="ADAL" clId="{64A7BA29-298F-4460-8882-A0F85B3906CA}" dt="2022-02-23T15:58:07.466" v="1191" actId="1036"/>
          <ac:spMkLst>
            <pc:docMk/>
            <pc:sldMk cId="2821762031" sldId="395"/>
            <ac:spMk id="17" creationId="{71A3BA05-9119-45D9-91BF-32DD3F8DD4D8}"/>
          </ac:spMkLst>
        </pc:spChg>
        <pc:spChg chg="add mod ord">
          <ac:chgData name="Yasmin, Inge" userId="6c3c80dd-7f6a-44e2-9ebd-5183e747c2e9" providerId="ADAL" clId="{64A7BA29-298F-4460-8882-A0F85B3906CA}" dt="2022-02-23T15:59:44.719" v="1199" actId="167"/>
          <ac:spMkLst>
            <pc:docMk/>
            <pc:sldMk cId="2821762031" sldId="395"/>
            <ac:spMk id="21" creationId="{383C0813-0D9D-4FCD-9A87-A1DBB0B6F94C}"/>
          </ac:spMkLst>
        </pc:spChg>
        <pc:cxnChg chg="add mod">
          <ac:chgData name="Yasmin, Inge" userId="6c3c80dd-7f6a-44e2-9ebd-5183e747c2e9" providerId="ADAL" clId="{64A7BA29-298F-4460-8882-A0F85B3906CA}" dt="2022-02-23T15:59:23.662" v="1197" actId="208"/>
          <ac:cxnSpMkLst>
            <pc:docMk/>
            <pc:sldMk cId="2821762031" sldId="395"/>
            <ac:cxnSpMk id="19" creationId="{14D511BA-3303-4792-A006-C980A27784DD}"/>
          </ac:cxnSpMkLst>
        </pc:cxnChg>
      </pc:sldChg>
      <pc:sldChg chg="addSp delSp modSp new mod">
        <pc:chgData name="Yasmin, Inge" userId="6c3c80dd-7f6a-44e2-9ebd-5183e747c2e9" providerId="ADAL" clId="{64A7BA29-298F-4460-8882-A0F85B3906CA}" dt="2022-03-01T16:01:13.609" v="2182" actId="1076"/>
        <pc:sldMkLst>
          <pc:docMk/>
          <pc:sldMk cId="1006745357" sldId="396"/>
        </pc:sldMkLst>
        <pc:spChg chg="mod">
          <ac:chgData name="Yasmin, Inge" userId="6c3c80dd-7f6a-44e2-9ebd-5183e747c2e9" providerId="ADAL" clId="{64A7BA29-298F-4460-8882-A0F85B3906CA}" dt="2022-03-01T15:55:56.151" v="2155" actId="113"/>
          <ac:spMkLst>
            <pc:docMk/>
            <pc:sldMk cId="1006745357" sldId="396"/>
            <ac:spMk id="2" creationId="{7609CF25-FA5A-4294-8801-665B93B60A35}"/>
          </ac:spMkLst>
        </pc:spChg>
        <pc:spChg chg="del">
          <ac:chgData name="Yasmin, Inge" userId="6c3c80dd-7f6a-44e2-9ebd-5183e747c2e9" providerId="ADAL" clId="{64A7BA29-298F-4460-8882-A0F85B3906CA}" dt="2022-03-01T15:40:35.279" v="1763" actId="21"/>
          <ac:spMkLst>
            <pc:docMk/>
            <pc:sldMk cId="1006745357" sldId="396"/>
            <ac:spMk id="3" creationId="{113A15EA-B14D-4052-BE48-5F7A4E0F065A}"/>
          </ac:spMkLst>
        </pc:spChg>
        <pc:spChg chg="add mod">
          <ac:chgData name="Yasmin, Inge" userId="6c3c80dd-7f6a-44e2-9ebd-5183e747c2e9" providerId="ADAL" clId="{64A7BA29-298F-4460-8882-A0F85B3906CA}" dt="2022-03-01T15:55:32.089" v="2126" actId="14100"/>
          <ac:spMkLst>
            <pc:docMk/>
            <pc:sldMk cId="1006745357" sldId="396"/>
            <ac:spMk id="6" creationId="{82F3E6DF-40C2-47D4-BE98-B72FBF920404}"/>
          </ac:spMkLst>
        </pc:spChg>
        <pc:spChg chg="add mod">
          <ac:chgData name="Yasmin, Inge" userId="6c3c80dd-7f6a-44e2-9ebd-5183e747c2e9" providerId="ADAL" clId="{64A7BA29-298F-4460-8882-A0F85B3906CA}" dt="2022-03-01T15:55:32.089" v="2126" actId="14100"/>
          <ac:spMkLst>
            <pc:docMk/>
            <pc:sldMk cId="1006745357" sldId="396"/>
            <ac:spMk id="7" creationId="{F819CD14-EA4F-41B8-9CB9-3C171F57E647}"/>
          </ac:spMkLst>
        </pc:spChg>
        <pc:spChg chg="mod">
          <ac:chgData name="Yasmin, Inge" userId="6c3c80dd-7f6a-44e2-9ebd-5183e747c2e9" providerId="ADAL" clId="{64A7BA29-298F-4460-8882-A0F85B3906CA}" dt="2022-03-01T15:55:37.403" v="2130" actId="14100"/>
          <ac:spMkLst>
            <pc:docMk/>
            <pc:sldMk cId="1006745357" sldId="396"/>
            <ac:spMk id="12" creationId="{F4C864B6-79AD-4EE3-AAA1-41D2FAA2DB82}"/>
          </ac:spMkLst>
        </pc:spChg>
        <pc:spChg chg="mod">
          <ac:chgData name="Yasmin, Inge" userId="6c3c80dd-7f6a-44e2-9ebd-5183e747c2e9" providerId="ADAL" clId="{64A7BA29-298F-4460-8882-A0F85B3906CA}" dt="2022-03-01T15:55:37.403" v="2130" actId="14100"/>
          <ac:spMkLst>
            <pc:docMk/>
            <pc:sldMk cId="1006745357" sldId="396"/>
            <ac:spMk id="13" creationId="{DB4C29A0-BCA3-4BCC-BB04-2A6D42FFF639}"/>
          </ac:spMkLst>
        </pc:spChg>
        <pc:spChg chg="mod">
          <ac:chgData name="Yasmin, Inge" userId="6c3c80dd-7f6a-44e2-9ebd-5183e747c2e9" providerId="ADAL" clId="{64A7BA29-298F-4460-8882-A0F85B3906CA}" dt="2022-03-01T15:55:24.418" v="2122" actId="14100"/>
          <ac:spMkLst>
            <pc:docMk/>
            <pc:sldMk cId="1006745357" sldId="396"/>
            <ac:spMk id="15" creationId="{DF22D9B3-6A5A-485F-9239-1E6E1E92EF9F}"/>
          </ac:spMkLst>
        </pc:spChg>
        <pc:spChg chg="mod">
          <ac:chgData name="Yasmin, Inge" userId="6c3c80dd-7f6a-44e2-9ebd-5183e747c2e9" providerId="ADAL" clId="{64A7BA29-298F-4460-8882-A0F85B3906CA}" dt="2022-03-01T15:55:24.418" v="2122" actId="14100"/>
          <ac:spMkLst>
            <pc:docMk/>
            <pc:sldMk cId="1006745357" sldId="396"/>
            <ac:spMk id="16" creationId="{2FFF45C7-1580-4268-B1B8-AEE5C8ACB0A6}"/>
          </ac:spMkLst>
        </pc:spChg>
        <pc:spChg chg="add del mod">
          <ac:chgData name="Yasmin, Inge" userId="6c3c80dd-7f6a-44e2-9ebd-5183e747c2e9" providerId="ADAL" clId="{64A7BA29-298F-4460-8882-A0F85B3906CA}" dt="2022-03-01T15:59:55.272" v="2168" actId="21"/>
          <ac:spMkLst>
            <pc:docMk/>
            <pc:sldMk cId="1006745357" sldId="396"/>
            <ac:spMk id="17" creationId="{92150E1E-6566-4BD0-B86F-B403EA495B41}"/>
          </ac:spMkLst>
        </pc:spChg>
        <pc:spChg chg="mod">
          <ac:chgData name="Yasmin, Inge" userId="6c3c80dd-7f6a-44e2-9ebd-5183e747c2e9" providerId="ADAL" clId="{64A7BA29-298F-4460-8882-A0F85B3906CA}" dt="2022-03-01T16:00:14.097" v="2175" actId="1076"/>
          <ac:spMkLst>
            <pc:docMk/>
            <pc:sldMk cId="1006745357" sldId="396"/>
            <ac:spMk id="19" creationId="{82C4B77F-D65D-4E95-938D-9F757ADFC3E0}"/>
          </ac:spMkLst>
        </pc:spChg>
        <pc:spChg chg="mod">
          <ac:chgData name="Yasmin, Inge" userId="6c3c80dd-7f6a-44e2-9ebd-5183e747c2e9" providerId="ADAL" clId="{64A7BA29-298F-4460-8882-A0F85B3906CA}" dt="2022-03-01T16:00:14.097" v="2175" actId="1076"/>
          <ac:spMkLst>
            <pc:docMk/>
            <pc:sldMk cId="1006745357" sldId="396"/>
            <ac:spMk id="20" creationId="{80997388-E434-47F4-B184-85646D3C1F1A}"/>
          </ac:spMkLst>
        </pc:spChg>
        <pc:spChg chg="mod">
          <ac:chgData name="Yasmin, Inge" userId="6c3c80dd-7f6a-44e2-9ebd-5183e747c2e9" providerId="ADAL" clId="{64A7BA29-298F-4460-8882-A0F85B3906CA}" dt="2022-03-01T16:00:14.097" v="2175" actId="1076"/>
          <ac:spMkLst>
            <pc:docMk/>
            <pc:sldMk cId="1006745357" sldId="396"/>
            <ac:spMk id="21" creationId="{24BAC4A0-4CE0-4A8C-BABE-46E5972D70A4}"/>
          </ac:spMkLst>
        </pc:spChg>
        <pc:spChg chg="mod">
          <ac:chgData name="Yasmin, Inge" userId="6c3c80dd-7f6a-44e2-9ebd-5183e747c2e9" providerId="ADAL" clId="{64A7BA29-298F-4460-8882-A0F85B3906CA}" dt="2022-03-01T16:00:14.097" v="2175" actId="1076"/>
          <ac:spMkLst>
            <pc:docMk/>
            <pc:sldMk cId="1006745357" sldId="396"/>
            <ac:spMk id="22" creationId="{FC4D3266-FF7B-4907-83F6-3D02605A46F3}"/>
          </ac:spMkLst>
        </pc:spChg>
        <pc:spChg chg="mod">
          <ac:chgData name="Yasmin, Inge" userId="6c3c80dd-7f6a-44e2-9ebd-5183e747c2e9" providerId="ADAL" clId="{64A7BA29-298F-4460-8882-A0F85B3906CA}" dt="2022-03-01T16:00:14.097" v="2175" actId="1076"/>
          <ac:spMkLst>
            <pc:docMk/>
            <pc:sldMk cId="1006745357" sldId="396"/>
            <ac:spMk id="23" creationId="{88746B16-F59E-441B-B5F8-00A314F06C01}"/>
          </ac:spMkLst>
        </pc:spChg>
        <pc:spChg chg="mod">
          <ac:chgData name="Yasmin, Inge" userId="6c3c80dd-7f6a-44e2-9ebd-5183e747c2e9" providerId="ADAL" clId="{64A7BA29-298F-4460-8882-A0F85B3906CA}" dt="2022-03-01T16:00:14.097" v="2175" actId="1076"/>
          <ac:spMkLst>
            <pc:docMk/>
            <pc:sldMk cId="1006745357" sldId="396"/>
            <ac:spMk id="24" creationId="{06D16F6D-D39E-48BB-8C9C-052FF0A932FA}"/>
          </ac:spMkLst>
        </pc:spChg>
        <pc:spChg chg="mod">
          <ac:chgData name="Yasmin, Inge" userId="6c3c80dd-7f6a-44e2-9ebd-5183e747c2e9" providerId="ADAL" clId="{64A7BA29-298F-4460-8882-A0F85B3906CA}" dt="2022-03-01T16:00:14.097" v="2175" actId="1076"/>
          <ac:spMkLst>
            <pc:docMk/>
            <pc:sldMk cId="1006745357" sldId="396"/>
            <ac:spMk id="25" creationId="{4E45C875-6FA9-4C5E-AE87-C4D51802FCA2}"/>
          </ac:spMkLst>
        </pc:spChg>
        <pc:spChg chg="mod">
          <ac:chgData name="Yasmin, Inge" userId="6c3c80dd-7f6a-44e2-9ebd-5183e747c2e9" providerId="ADAL" clId="{64A7BA29-298F-4460-8882-A0F85B3906CA}" dt="2022-03-01T16:00:14.097" v="2175" actId="1076"/>
          <ac:spMkLst>
            <pc:docMk/>
            <pc:sldMk cId="1006745357" sldId="396"/>
            <ac:spMk id="26" creationId="{6ABC6AED-60B7-424B-BD97-B069451258F7}"/>
          </ac:spMkLst>
        </pc:spChg>
        <pc:spChg chg="mod">
          <ac:chgData name="Yasmin, Inge" userId="6c3c80dd-7f6a-44e2-9ebd-5183e747c2e9" providerId="ADAL" clId="{64A7BA29-298F-4460-8882-A0F85B3906CA}" dt="2022-03-01T16:00:14.097" v="2175" actId="1076"/>
          <ac:spMkLst>
            <pc:docMk/>
            <pc:sldMk cId="1006745357" sldId="396"/>
            <ac:spMk id="27" creationId="{4E74114B-8E82-4CB6-B88B-BA189D249FE9}"/>
          </ac:spMkLst>
        </pc:spChg>
        <pc:spChg chg="mod">
          <ac:chgData name="Yasmin, Inge" userId="6c3c80dd-7f6a-44e2-9ebd-5183e747c2e9" providerId="ADAL" clId="{64A7BA29-298F-4460-8882-A0F85B3906CA}" dt="2022-03-01T16:00:14.097" v="2175" actId="1076"/>
          <ac:spMkLst>
            <pc:docMk/>
            <pc:sldMk cId="1006745357" sldId="396"/>
            <ac:spMk id="28" creationId="{78880F7B-FD96-41E8-B2EF-D86538CD9B1B}"/>
          </ac:spMkLst>
        </pc:spChg>
        <pc:spChg chg="mod">
          <ac:chgData name="Yasmin, Inge" userId="6c3c80dd-7f6a-44e2-9ebd-5183e747c2e9" providerId="ADAL" clId="{64A7BA29-298F-4460-8882-A0F85B3906CA}" dt="2022-03-01T16:00:46.924" v="2179" actId="1076"/>
          <ac:spMkLst>
            <pc:docMk/>
            <pc:sldMk cId="1006745357" sldId="396"/>
            <ac:spMk id="30" creationId="{EED60FFB-2A5A-4C13-AED6-16DC184F8E28}"/>
          </ac:spMkLst>
        </pc:spChg>
        <pc:spChg chg="mod">
          <ac:chgData name="Yasmin, Inge" userId="6c3c80dd-7f6a-44e2-9ebd-5183e747c2e9" providerId="ADAL" clId="{64A7BA29-298F-4460-8882-A0F85B3906CA}" dt="2022-03-01T16:00:46.924" v="2179" actId="1076"/>
          <ac:spMkLst>
            <pc:docMk/>
            <pc:sldMk cId="1006745357" sldId="396"/>
            <ac:spMk id="31" creationId="{3916D546-A461-40E4-8305-786C4B981136}"/>
          </ac:spMkLst>
        </pc:spChg>
        <pc:spChg chg="mod">
          <ac:chgData name="Yasmin, Inge" userId="6c3c80dd-7f6a-44e2-9ebd-5183e747c2e9" providerId="ADAL" clId="{64A7BA29-298F-4460-8882-A0F85B3906CA}" dt="2022-03-01T16:01:13.609" v="2182" actId="1076"/>
          <ac:spMkLst>
            <pc:docMk/>
            <pc:sldMk cId="1006745357" sldId="396"/>
            <ac:spMk id="33" creationId="{75CA54D1-A020-477D-9B49-95D99F0CBB3C}"/>
          </ac:spMkLst>
        </pc:spChg>
        <pc:spChg chg="mod">
          <ac:chgData name="Yasmin, Inge" userId="6c3c80dd-7f6a-44e2-9ebd-5183e747c2e9" providerId="ADAL" clId="{64A7BA29-298F-4460-8882-A0F85B3906CA}" dt="2022-03-01T16:01:13.609" v="2182" actId="1076"/>
          <ac:spMkLst>
            <pc:docMk/>
            <pc:sldMk cId="1006745357" sldId="396"/>
            <ac:spMk id="34" creationId="{A152AEC1-033C-47B1-8FBC-1D781941EF7C}"/>
          </ac:spMkLst>
        </pc:spChg>
        <pc:grpChg chg="add mod">
          <ac:chgData name="Yasmin, Inge" userId="6c3c80dd-7f6a-44e2-9ebd-5183e747c2e9" providerId="ADAL" clId="{64A7BA29-298F-4460-8882-A0F85B3906CA}" dt="2022-03-01T15:55:46.922" v="2150" actId="1036"/>
          <ac:grpSpMkLst>
            <pc:docMk/>
            <pc:sldMk cId="1006745357" sldId="396"/>
            <ac:grpSpMk id="9" creationId="{F9C7B763-03DC-4B51-8CC3-58BE930BD33A}"/>
          </ac:grpSpMkLst>
        </pc:grpChg>
        <pc:grpChg chg="add mod">
          <ac:chgData name="Yasmin, Inge" userId="6c3c80dd-7f6a-44e2-9ebd-5183e747c2e9" providerId="ADAL" clId="{64A7BA29-298F-4460-8882-A0F85B3906CA}" dt="2022-03-01T15:55:46.922" v="2150" actId="1036"/>
          <ac:grpSpMkLst>
            <pc:docMk/>
            <pc:sldMk cId="1006745357" sldId="396"/>
            <ac:grpSpMk id="11" creationId="{B53B8AD4-2507-4DFF-A972-71ABA8CAA1DB}"/>
          </ac:grpSpMkLst>
        </pc:grpChg>
        <pc:grpChg chg="add mod">
          <ac:chgData name="Yasmin, Inge" userId="6c3c80dd-7f6a-44e2-9ebd-5183e747c2e9" providerId="ADAL" clId="{64A7BA29-298F-4460-8882-A0F85B3906CA}" dt="2022-03-01T15:55:46.922" v="2150" actId="1036"/>
          <ac:grpSpMkLst>
            <pc:docMk/>
            <pc:sldMk cId="1006745357" sldId="396"/>
            <ac:grpSpMk id="14" creationId="{879DB07F-7D75-4D06-BDFB-17D04B64050D}"/>
          </ac:grpSpMkLst>
        </pc:grpChg>
        <pc:grpChg chg="add mod">
          <ac:chgData name="Yasmin, Inge" userId="6c3c80dd-7f6a-44e2-9ebd-5183e747c2e9" providerId="ADAL" clId="{64A7BA29-298F-4460-8882-A0F85B3906CA}" dt="2022-03-01T16:00:14.097" v="2175" actId="1076"/>
          <ac:grpSpMkLst>
            <pc:docMk/>
            <pc:sldMk cId="1006745357" sldId="396"/>
            <ac:grpSpMk id="18" creationId="{3C4A016A-F30C-46F7-9ABC-DE3836F700E8}"/>
          </ac:grpSpMkLst>
        </pc:grpChg>
        <pc:grpChg chg="add mod">
          <ac:chgData name="Yasmin, Inge" userId="6c3c80dd-7f6a-44e2-9ebd-5183e747c2e9" providerId="ADAL" clId="{64A7BA29-298F-4460-8882-A0F85B3906CA}" dt="2022-03-01T16:00:46.924" v="2179" actId="1076"/>
          <ac:grpSpMkLst>
            <pc:docMk/>
            <pc:sldMk cId="1006745357" sldId="396"/>
            <ac:grpSpMk id="29" creationId="{AF92F299-1059-48D2-A182-4F0004576C20}"/>
          </ac:grpSpMkLst>
        </pc:grpChg>
        <pc:grpChg chg="add mod">
          <ac:chgData name="Yasmin, Inge" userId="6c3c80dd-7f6a-44e2-9ebd-5183e747c2e9" providerId="ADAL" clId="{64A7BA29-298F-4460-8882-A0F85B3906CA}" dt="2022-03-01T16:01:13.609" v="2182" actId="1076"/>
          <ac:grpSpMkLst>
            <pc:docMk/>
            <pc:sldMk cId="1006745357" sldId="396"/>
            <ac:grpSpMk id="32" creationId="{D068BC25-5C00-42DC-A6D1-26C75B553735}"/>
          </ac:grpSpMkLst>
        </pc:grpChg>
        <pc:picChg chg="add del mod">
          <ac:chgData name="Yasmin, Inge" userId="6c3c80dd-7f6a-44e2-9ebd-5183e747c2e9" providerId="ADAL" clId="{64A7BA29-298F-4460-8882-A0F85B3906CA}" dt="2022-03-01T15:44:32.191" v="1813" actId="21"/>
          <ac:picMkLst>
            <pc:docMk/>
            <pc:sldMk cId="1006745357" sldId="396"/>
            <ac:picMk id="8" creationId="{C35748B8-C5A3-4320-AC4D-C9B0D45A402D}"/>
          </ac:picMkLst>
        </pc:picChg>
        <pc:picChg chg="add del mod">
          <ac:chgData name="Yasmin, Inge" userId="6c3c80dd-7f6a-44e2-9ebd-5183e747c2e9" providerId="ADAL" clId="{64A7BA29-298F-4460-8882-A0F85B3906CA}" dt="2022-03-01T15:44:19.481" v="1809" actId="21"/>
          <ac:picMkLst>
            <pc:docMk/>
            <pc:sldMk cId="1006745357" sldId="396"/>
            <ac:picMk id="10" creationId="{5F91CA10-628B-41E9-B29E-985A19111489}"/>
          </ac:picMkLst>
        </pc:picChg>
      </pc:sldChg>
      <pc:sldChg chg="delSp modSp mod ord">
        <pc:chgData name="Yasmin, Inge" userId="6c3c80dd-7f6a-44e2-9ebd-5183e747c2e9" providerId="ADAL" clId="{64A7BA29-298F-4460-8882-A0F85B3906CA}" dt="2022-03-01T17:39:27.429" v="3897"/>
        <pc:sldMkLst>
          <pc:docMk/>
          <pc:sldMk cId="811957310" sldId="256674"/>
        </pc:sldMkLst>
        <pc:spChg chg="del">
          <ac:chgData name="Yasmin, Inge" userId="6c3c80dd-7f6a-44e2-9ebd-5183e747c2e9" providerId="ADAL" clId="{64A7BA29-298F-4460-8882-A0F85B3906CA}" dt="2022-03-01T17:31:00.775" v="3786" actId="21"/>
          <ac:spMkLst>
            <pc:docMk/>
            <pc:sldMk cId="811957310" sldId="256674"/>
            <ac:spMk id="22" creationId="{94744DB8-0E29-4404-A5F9-342715F0FDC9}"/>
          </ac:spMkLst>
        </pc:spChg>
        <pc:spChg chg="mod">
          <ac:chgData name="Yasmin, Inge" userId="6c3c80dd-7f6a-44e2-9ebd-5183e747c2e9" providerId="ADAL" clId="{64A7BA29-298F-4460-8882-A0F85B3906CA}" dt="2022-03-01T17:34:30.680" v="3834" actId="1037"/>
          <ac:spMkLst>
            <pc:docMk/>
            <pc:sldMk cId="811957310" sldId="256674"/>
            <ac:spMk id="59" creationId="{2855E37C-0A0F-4237-A42E-5AB8E3935914}"/>
          </ac:spMkLst>
        </pc:spChg>
        <pc:spChg chg="mod">
          <ac:chgData name="Yasmin, Inge" userId="6c3c80dd-7f6a-44e2-9ebd-5183e747c2e9" providerId="ADAL" clId="{64A7BA29-298F-4460-8882-A0F85B3906CA}" dt="2022-03-01T17:34:24.571" v="3833" actId="1037"/>
          <ac:spMkLst>
            <pc:docMk/>
            <pc:sldMk cId="811957310" sldId="256674"/>
            <ac:spMk id="60" creationId="{C5BFB5C8-70B1-414A-B2C5-6DB15AF17A32}"/>
          </ac:spMkLst>
        </pc:spChg>
        <pc:spChg chg="mod">
          <ac:chgData name="Yasmin, Inge" userId="6c3c80dd-7f6a-44e2-9ebd-5183e747c2e9" providerId="ADAL" clId="{64A7BA29-298F-4460-8882-A0F85B3906CA}" dt="2022-03-01T17:34:22.382" v="3831" actId="1037"/>
          <ac:spMkLst>
            <pc:docMk/>
            <pc:sldMk cId="811957310" sldId="256674"/>
            <ac:spMk id="61" creationId="{C70CDA5F-9D09-4E97-BE28-7BDF69D6A007}"/>
          </ac:spMkLst>
        </pc:spChg>
        <pc:spChg chg="mod">
          <ac:chgData name="Yasmin, Inge" userId="6c3c80dd-7f6a-44e2-9ebd-5183e747c2e9" providerId="ADAL" clId="{64A7BA29-298F-4460-8882-A0F85B3906CA}" dt="2022-03-01T17:34:18.067" v="3829" actId="14100"/>
          <ac:spMkLst>
            <pc:docMk/>
            <pc:sldMk cId="811957310" sldId="256674"/>
            <ac:spMk id="62" creationId="{944CA9EE-81D7-4152-86E1-0937756F24AD}"/>
          </ac:spMkLst>
        </pc:spChg>
        <pc:spChg chg="mod">
          <ac:chgData name="Yasmin, Inge" userId="6c3c80dd-7f6a-44e2-9ebd-5183e747c2e9" providerId="ADAL" clId="{64A7BA29-298F-4460-8882-A0F85B3906CA}" dt="2022-03-01T17:34:44.834" v="3854" actId="14100"/>
          <ac:spMkLst>
            <pc:docMk/>
            <pc:sldMk cId="811957310" sldId="256674"/>
            <ac:spMk id="63" creationId="{82FF353C-FB7A-4244-9876-CCB4A6069182}"/>
          </ac:spMkLst>
        </pc:spChg>
        <pc:spChg chg="mod">
          <ac:chgData name="Yasmin, Inge" userId="6c3c80dd-7f6a-44e2-9ebd-5183e747c2e9" providerId="ADAL" clId="{64A7BA29-298F-4460-8882-A0F85B3906CA}" dt="2022-03-01T17:34:58.072" v="3856" actId="14100"/>
          <ac:spMkLst>
            <pc:docMk/>
            <pc:sldMk cId="811957310" sldId="256674"/>
            <ac:spMk id="64" creationId="{D71C32DC-435F-4FCB-B001-23E166CD8313}"/>
          </ac:spMkLst>
        </pc:spChg>
        <pc:spChg chg="mod">
          <ac:chgData name="Yasmin, Inge" userId="6c3c80dd-7f6a-44e2-9ebd-5183e747c2e9" providerId="ADAL" clId="{64A7BA29-298F-4460-8882-A0F85B3906CA}" dt="2022-03-01T17:35:01.322" v="3857" actId="14100"/>
          <ac:spMkLst>
            <pc:docMk/>
            <pc:sldMk cId="811957310" sldId="256674"/>
            <ac:spMk id="65" creationId="{F1166EB1-C5C1-4EA3-A48C-9E6D9626B4D0}"/>
          </ac:spMkLst>
        </pc:spChg>
        <pc:spChg chg="mod">
          <ac:chgData name="Yasmin, Inge" userId="6c3c80dd-7f6a-44e2-9ebd-5183e747c2e9" providerId="ADAL" clId="{64A7BA29-298F-4460-8882-A0F85B3906CA}" dt="2022-03-01T17:35:04.383" v="3858" actId="14100"/>
          <ac:spMkLst>
            <pc:docMk/>
            <pc:sldMk cId="811957310" sldId="256674"/>
            <ac:spMk id="66" creationId="{D6032F5D-39D8-462E-948F-3D6482FC9364}"/>
          </ac:spMkLst>
        </pc:spChg>
        <pc:spChg chg="del">
          <ac:chgData name="Yasmin, Inge" userId="6c3c80dd-7f6a-44e2-9ebd-5183e747c2e9" providerId="ADAL" clId="{64A7BA29-298F-4460-8882-A0F85B3906CA}" dt="2022-03-01T17:33:05.354" v="3791" actId="21"/>
          <ac:spMkLst>
            <pc:docMk/>
            <pc:sldMk cId="811957310" sldId="256674"/>
            <ac:spMk id="67" creationId="{A9D92601-99E7-4549-90FF-771535300DE6}"/>
          </ac:spMkLst>
        </pc:spChg>
        <pc:spChg chg="del">
          <ac:chgData name="Yasmin, Inge" userId="6c3c80dd-7f6a-44e2-9ebd-5183e747c2e9" providerId="ADAL" clId="{64A7BA29-298F-4460-8882-A0F85B3906CA}" dt="2022-03-01T17:33:05.354" v="3791" actId="21"/>
          <ac:spMkLst>
            <pc:docMk/>
            <pc:sldMk cId="811957310" sldId="256674"/>
            <ac:spMk id="68" creationId="{21E20C78-0517-45FD-8602-6BABA3673C98}"/>
          </ac:spMkLst>
        </pc:spChg>
        <pc:spChg chg="del">
          <ac:chgData name="Yasmin, Inge" userId="6c3c80dd-7f6a-44e2-9ebd-5183e747c2e9" providerId="ADAL" clId="{64A7BA29-298F-4460-8882-A0F85B3906CA}" dt="2022-03-01T17:33:05.354" v="3791" actId="21"/>
          <ac:spMkLst>
            <pc:docMk/>
            <pc:sldMk cId="811957310" sldId="256674"/>
            <ac:spMk id="69" creationId="{CDE78C20-CBB0-419C-AF5E-08633B9A815F}"/>
          </ac:spMkLst>
        </pc:spChg>
        <pc:spChg chg="del">
          <ac:chgData name="Yasmin, Inge" userId="6c3c80dd-7f6a-44e2-9ebd-5183e747c2e9" providerId="ADAL" clId="{64A7BA29-298F-4460-8882-A0F85B3906CA}" dt="2022-03-01T17:33:05.354" v="3791" actId="21"/>
          <ac:spMkLst>
            <pc:docMk/>
            <pc:sldMk cId="811957310" sldId="256674"/>
            <ac:spMk id="70" creationId="{143A7EB5-1C91-4880-BB26-C00516EE5285}"/>
          </ac:spMkLst>
        </pc:spChg>
        <pc:spChg chg="del">
          <ac:chgData name="Yasmin, Inge" userId="6c3c80dd-7f6a-44e2-9ebd-5183e747c2e9" providerId="ADAL" clId="{64A7BA29-298F-4460-8882-A0F85B3906CA}" dt="2022-03-01T17:33:05.354" v="3791" actId="21"/>
          <ac:spMkLst>
            <pc:docMk/>
            <pc:sldMk cId="811957310" sldId="256674"/>
            <ac:spMk id="71" creationId="{7B6C432E-D648-45CA-B1AE-FAD656E90F58}"/>
          </ac:spMkLst>
        </pc:spChg>
        <pc:spChg chg="del">
          <ac:chgData name="Yasmin, Inge" userId="6c3c80dd-7f6a-44e2-9ebd-5183e747c2e9" providerId="ADAL" clId="{64A7BA29-298F-4460-8882-A0F85B3906CA}" dt="2022-03-01T17:33:05.354" v="3791" actId="21"/>
          <ac:spMkLst>
            <pc:docMk/>
            <pc:sldMk cId="811957310" sldId="256674"/>
            <ac:spMk id="72" creationId="{53DD8360-1323-4FB2-B7D8-6462B8CF2FA4}"/>
          </ac:spMkLst>
        </pc:spChg>
        <pc:spChg chg="del">
          <ac:chgData name="Yasmin, Inge" userId="6c3c80dd-7f6a-44e2-9ebd-5183e747c2e9" providerId="ADAL" clId="{64A7BA29-298F-4460-8882-A0F85B3906CA}" dt="2022-03-01T17:33:05.354" v="3791" actId="21"/>
          <ac:spMkLst>
            <pc:docMk/>
            <pc:sldMk cId="811957310" sldId="256674"/>
            <ac:spMk id="73" creationId="{3C8A1223-217A-4FA2-BD54-163B2C43F065}"/>
          </ac:spMkLst>
        </pc:spChg>
        <pc:spChg chg="del">
          <ac:chgData name="Yasmin, Inge" userId="6c3c80dd-7f6a-44e2-9ebd-5183e747c2e9" providerId="ADAL" clId="{64A7BA29-298F-4460-8882-A0F85B3906CA}" dt="2022-03-01T17:33:05.354" v="3791" actId="21"/>
          <ac:spMkLst>
            <pc:docMk/>
            <pc:sldMk cId="811957310" sldId="256674"/>
            <ac:spMk id="74" creationId="{B373156A-B7B3-4278-8376-5F540BD1D6F9}"/>
          </ac:spMkLst>
        </pc:spChg>
        <pc:spChg chg="mod">
          <ac:chgData name="Yasmin, Inge" userId="6c3c80dd-7f6a-44e2-9ebd-5183e747c2e9" providerId="ADAL" clId="{64A7BA29-298F-4460-8882-A0F85B3906CA}" dt="2022-03-01T17:31:13.665" v="3789" actId="403"/>
          <ac:spMkLst>
            <pc:docMk/>
            <pc:sldMk cId="811957310" sldId="256674"/>
            <ac:spMk id="75" creationId="{918E6CDC-40C0-43B9-A3F2-B7BC491EE138}"/>
          </ac:spMkLst>
        </pc:spChg>
      </pc:sldChg>
      <pc:sldChg chg="addSp modSp mod">
        <pc:chgData name="Yasmin, Inge" userId="6c3c80dd-7f6a-44e2-9ebd-5183e747c2e9" providerId="ADAL" clId="{64A7BA29-298F-4460-8882-A0F85B3906CA}" dt="2022-03-01T15:32:10.541" v="1760" actId="6549"/>
        <pc:sldMkLst>
          <pc:docMk/>
          <pc:sldMk cId="922484242" sldId="2146846320"/>
        </pc:sldMkLst>
        <pc:spChg chg="mod">
          <ac:chgData name="Yasmin, Inge" userId="6c3c80dd-7f6a-44e2-9ebd-5183e747c2e9" providerId="ADAL" clId="{64A7BA29-298F-4460-8882-A0F85B3906CA}" dt="2022-03-01T15:25:44.416" v="1621" actId="14100"/>
          <ac:spMkLst>
            <pc:docMk/>
            <pc:sldMk cId="922484242" sldId="2146846320"/>
            <ac:spMk id="14" creationId="{8F25BA15-7FC7-4A3E-8AE9-D2A416D69BEA}"/>
          </ac:spMkLst>
        </pc:spChg>
        <pc:spChg chg="mod">
          <ac:chgData name="Yasmin, Inge" userId="6c3c80dd-7f6a-44e2-9ebd-5183e747c2e9" providerId="ADAL" clId="{64A7BA29-298F-4460-8882-A0F85B3906CA}" dt="2022-03-01T15:25:56.685" v="1624" actId="14100"/>
          <ac:spMkLst>
            <pc:docMk/>
            <pc:sldMk cId="922484242" sldId="2146846320"/>
            <ac:spMk id="16" creationId="{46C61A26-AF98-4381-B03A-17CF768990EF}"/>
          </ac:spMkLst>
        </pc:spChg>
        <pc:spChg chg="mod">
          <ac:chgData name="Yasmin, Inge" userId="6c3c80dd-7f6a-44e2-9ebd-5183e747c2e9" providerId="ADAL" clId="{64A7BA29-298F-4460-8882-A0F85B3906CA}" dt="2022-03-01T15:24:47.467" v="1564" actId="14100"/>
          <ac:spMkLst>
            <pc:docMk/>
            <pc:sldMk cId="922484242" sldId="2146846320"/>
            <ac:spMk id="17" creationId="{FF2C494B-0608-4BC9-A811-968F3FC57207}"/>
          </ac:spMkLst>
        </pc:spChg>
        <pc:spChg chg="mod">
          <ac:chgData name="Yasmin, Inge" userId="6c3c80dd-7f6a-44e2-9ebd-5183e747c2e9" providerId="ADAL" clId="{64A7BA29-298F-4460-8882-A0F85B3906CA}" dt="2022-03-01T15:26:07.461" v="1627" actId="14100"/>
          <ac:spMkLst>
            <pc:docMk/>
            <pc:sldMk cId="922484242" sldId="2146846320"/>
            <ac:spMk id="18" creationId="{4A624A81-8B88-4E39-AF83-809A6109DCE8}"/>
          </ac:spMkLst>
        </pc:spChg>
        <pc:spChg chg="mod">
          <ac:chgData name="Yasmin, Inge" userId="6c3c80dd-7f6a-44e2-9ebd-5183e747c2e9" providerId="ADAL" clId="{64A7BA29-298F-4460-8882-A0F85B3906CA}" dt="2022-03-01T15:22:21.581" v="1346" actId="1037"/>
          <ac:spMkLst>
            <pc:docMk/>
            <pc:sldMk cId="922484242" sldId="2146846320"/>
            <ac:spMk id="25" creationId="{7BF961B6-8BDD-43F8-8469-E94949803B73}"/>
          </ac:spMkLst>
        </pc:spChg>
        <pc:spChg chg="mod">
          <ac:chgData name="Yasmin, Inge" userId="6c3c80dd-7f6a-44e2-9ebd-5183e747c2e9" providerId="ADAL" clId="{64A7BA29-298F-4460-8882-A0F85B3906CA}" dt="2022-03-01T15:22:21.581" v="1346" actId="1037"/>
          <ac:spMkLst>
            <pc:docMk/>
            <pc:sldMk cId="922484242" sldId="2146846320"/>
            <ac:spMk id="31" creationId="{AF145074-0A08-4B17-87E1-DD8932FDCEB8}"/>
          </ac:spMkLst>
        </pc:spChg>
        <pc:spChg chg="mod">
          <ac:chgData name="Yasmin, Inge" userId="6c3c80dd-7f6a-44e2-9ebd-5183e747c2e9" providerId="ADAL" clId="{64A7BA29-298F-4460-8882-A0F85B3906CA}" dt="2022-03-01T15:24:38.053" v="1562" actId="1076"/>
          <ac:spMkLst>
            <pc:docMk/>
            <pc:sldMk cId="922484242" sldId="2146846320"/>
            <ac:spMk id="40" creationId="{B1B2A805-379E-44A4-B099-35EDA9DCE066}"/>
          </ac:spMkLst>
        </pc:spChg>
        <pc:spChg chg="mod">
          <ac:chgData name="Yasmin, Inge" userId="6c3c80dd-7f6a-44e2-9ebd-5183e747c2e9" providerId="ADAL" clId="{64A7BA29-298F-4460-8882-A0F85B3906CA}" dt="2022-03-01T15:24:38.053" v="1562" actId="1076"/>
          <ac:spMkLst>
            <pc:docMk/>
            <pc:sldMk cId="922484242" sldId="2146846320"/>
            <ac:spMk id="41" creationId="{062AFFDA-BB8B-4AD0-B3AF-6C195945C986}"/>
          </ac:spMkLst>
        </pc:spChg>
        <pc:spChg chg="mod">
          <ac:chgData name="Yasmin, Inge" userId="6c3c80dd-7f6a-44e2-9ebd-5183e747c2e9" providerId="ADAL" clId="{64A7BA29-298F-4460-8882-A0F85B3906CA}" dt="2022-03-01T15:24:38.053" v="1562" actId="1076"/>
          <ac:spMkLst>
            <pc:docMk/>
            <pc:sldMk cId="922484242" sldId="2146846320"/>
            <ac:spMk id="42" creationId="{9B112704-74D0-4464-885F-D35D6E515683}"/>
          </ac:spMkLst>
        </pc:spChg>
        <pc:spChg chg="mod">
          <ac:chgData name="Yasmin, Inge" userId="6c3c80dd-7f6a-44e2-9ebd-5183e747c2e9" providerId="ADAL" clId="{64A7BA29-298F-4460-8882-A0F85B3906CA}" dt="2022-03-01T15:24:38.053" v="1562" actId="1076"/>
          <ac:spMkLst>
            <pc:docMk/>
            <pc:sldMk cId="922484242" sldId="2146846320"/>
            <ac:spMk id="43" creationId="{17C9EB7D-37E6-43BB-ACF3-1E26755F7766}"/>
          </ac:spMkLst>
        </pc:spChg>
        <pc:spChg chg="mod">
          <ac:chgData name="Yasmin, Inge" userId="6c3c80dd-7f6a-44e2-9ebd-5183e747c2e9" providerId="ADAL" clId="{64A7BA29-298F-4460-8882-A0F85B3906CA}" dt="2022-03-01T15:24:33.043" v="1561" actId="1076"/>
          <ac:spMkLst>
            <pc:docMk/>
            <pc:sldMk cId="922484242" sldId="2146846320"/>
            <ac:spMk id="45" creationId="{BFFBCCA5-069E-424F-A446-633C8B3BD6A4}"/>
          </ac:spMkLst>
        </pc:spChg>
        <pc:spChg chg="mod">
          <ac:chgData name="Yasmin, Inge" userId="6c3c80dd-7f6a-44e2-9ebd-5183e747c2e9" providerId="ADAL" clId="{64A7BA29-298F-4460-8882-A0F85B3906CA}" dt="2022-03-01T15:24:33.043" v="1561" actId="1076"/>
          <ac:spMkLst>
            <pc:docMk/>
            <pc:sldMk cId="922484242" sldId="2146846320"/>
            <ac:spMk id="46" creationId="{CA52F998-5CB7-4339-9099-8EA00F02EF0F}"/>
          </ac:spMkLst>
        </pc:spChg>
        <pc:spChg chg="mod">
          <ac:chgData name="Yasmin, Inge" userId="6c3c80dd-7f6a-44e2-9ebd-5183e747c2e9" providerId="ADAL" clId="{64A7BA29-298F-4460-8882-A0F85B3906CA}" dt="2022-03-01T15:24:33.043" v="1561" actId="1076"/>
          <ac:spMkLst>
            <pc:docMk/>
            <pc:sldMk cId="922484242" sldId="2146846320"/>
            <ac:spMk id="47" creationId="{1F08FF55-624C-4442-A9F8-336F582B1AAC}"/>
          </ac:spMkLst>
        </pc:spChg>
        <pc:spChg chg="mod">
          <ac:chgData name="Yasmin, Inge" userId="6c3c80dd-7f6a-44e2-9ebd-5183e747c2e9" providerId="ADAL" clId="{64A7BA29-298F-4460-8882-A0F85B3906CA}" dt="2022-03-01T15:24:33.043" v="1561" actId="1076"/>
          <ac:spMkLst>
            <pc:docMk/>
            <pc:sldMk cId="922484242" sldId="2146846320"/>
            <ac:spMk id="48" creationId="{1D614DB1-310D-470D-962F-B9B3342545E1}"/>
          </ac:spMkLst>
        </pc:spChg>
        <pc:spChg chg="mod">
          <ac:chgData name="Yasmin, Inge" userId="6c3c80dd-7f6a-44e2-9ebd-5183e747c2e9" providerId="ADAL" clId="{64A7BA29-298F-4460-8882-A0F85B3906CA}" dt="2022-03-01T15:24:33.043" v="1561" actId="1076"/>
          <ac:spMkLst>
            <pc:docMk/>
            <pc:sldMk cId="922484242" sldId="2146846320"/>
            <ac:spMk id="49" creationId="{827DFA11-436C-4438-AE69-157C7390B766}"/>
          </ac:spMkLst>
        </pc:spChg>
        <pc:spChg chg="mod">
          <ac:chgData name="Yasmin, Inge" userId="6c3c80dd-7f6a-44e2-9ebd-5183e747c2e9" providerId="ADAL" clId="{64A7BA29-298F-4460-8882-A0F85B3906CA}" dt="2022-03-01T15:24:33.043" v="1561" actId="1076"/>
          <ac:spMkLst>
            <pc:docMk/>
            <pc:sldMk cId="922484242" sldId="2146846320"/>
            <ac:spMk id="50" creationId="{63E6D670-A96D-47BC-B7A9-0816AA2C89A7}"/>
          </ac:spMkLst>
        </pc:spChg>
        <pc:spChg chg="mod">
          <ac:chgData name="Yasmin, Inge" userId="6c3c80dd-7f6a-44e2-9ebd-5183e747c2e9" providerId="ADAL" clId="{64A7BA29-298F-4460-8882-A0F85B3906CA}" dt="2022-03-01T15:24:33.043" v="1561" actId="1076"/>
          <ac:spMkLst>
            <pc:docMk/>
            <pc:sldMk cId="922484242" sldId="2146846320"/>
            <ac:spMk id="51" creationId="{447E42DC-9E40-4D8F-9551-E5D08A0DB3F9}"/>
          </ac:spMkLst>
        </pc:spChg>
        <pc:spChg chg="mod">
          <ac:chgData name="Yasmin, Inge" userId="6c3c80dd-7f6a-44e2-9ebd-5183e747c2e9" providerId="ADAL" clId="{64A7BA29-298F-4460-8882-A0F85B3906CA}" dt="2022-03-01T15:24:33.043" v="1561" actId="1076"/>
          <ac:spMkLst>
            <pc:docMk/>
            <pc:sldMk cId="922484242" sldId="2146846320"/>
            <ac:spMk id="52" creationId="{F3F4A34A-3D86-4052-BF45-6290ACE8314F}"/>
          </ac:spMkLst>
        </pc:spChg>
        <pc:spChg chg="mod">
          <ac:chgData name="Yasmin, Inge" userId="6c3c80dd-7f6a-44e2-9ebd-5183e747c2e9" providerId="ADAL" clId="{64A7BA29-298F-4460-8882-A0F85B3906CA}" dt="2022-03-01T15:24:33.043" v="1561" actId="1076"/>
          <ac:spMkLst>
            <pc:docMk/>
            <pc:sldMk cId="922484242" sldId="2146846320"/>
            <ac:spMk id="53" creationId="{AAF6348F-4C09-4543-940F-697F5C81C192}"/>
          </ac:spMkLst>
        </pc:spChg>
        <pc:spChg chg="mod">
          <ac:chgData name="Yasmin, Inge" userId="6c3c80dd-7f6a-44e2-9ebd-5183e747c2e9" providerId="ADAL" clId="{64A7BA29-298F-4460-8882-A0F85B3906CA}" dt="2022-03-01T15:24:33.043" v="1561" actId="1076"/>
          <ac:spMkLst>
            <pc:docMk/>
            <pc:sldMk cId="922484242" sldId="2146846320"/>
            <ac:spMk id="54" creationId="{D2096A1D-2E3F-4354-8E4C-39A99CDEBC09}"/>
          </ac:spMkLst>
        </pc:spChg>
        <pc:spChg chg="mod">
          <ac:chgData name="Yasmin, Inge" userId="6c3c80dd-7f6a-44e2-9ebd-5183e747c2e9" providerId="ADAL" clId="{64A7BA29-298F-4460-8882-A0F85B3906CA}" dt="2022-03-01T15:24:33.043" v="1561" actId="1076"/>
          <ac:spMkLst>
            <pc:docMk/>
            <pc:sldMk cId="922484242" sldId="2146846320"/>
            <ac:spMk id="55" creationId="{16C0E357-1513-45F1-8F4F-DD38A24B3D82}"/>
          </ac:spMkLst>
        </pc:spChg>
        <pc:spChg chg="mod">
          <ac:chgData name="Yasmin, Inge" userId="6c3c80dd-7f6a-44e2-9ebd-5183e747c2e9" providerId="ADAL" clId="{64A7BA29-298F-4460-8882-A0F85B3906CA}" dt="2022-03-01T15:24:33.043" v="1561" actId="1076"/>
          <ac:spMkLst>
            <pc:docMk/>
            <pc:sldMk cId="922484242" sldId="2146846320"/>
            <ac:spMk id="56" creationId="{BF050BD0-7BEF-49F3-AE89-785963E1D625}"/>
          </ac:spMkLst>
        </pc:spChg>
        <pc:spChg chg="mod">
          <ac:chgData name="Yasmin, Inge" userId="6c3c80dd-7f6a-44e2-9ebd-5183e747c2e9" providerId="ADAL" clId="{64A7BA29-298F-4460-8882-A0F85B3906CA}" dt="2022-03-01T15:24:28.730" v="1560" actId="1076"/>
          <ac:spMkLst>
            <pc:docMk/>
            <pc:sldMk cId="922484242" sldId="2146846320"/>
            <ac:spMk id="57" creationId="{A0E817FB-56CA-4925-84D5-BC50B7949125}"/>
          </ac:spMkLst>
        </pc:spChg>
        <pc:spChg chg="mod">
          <ac:chgData name="Yasmin, Inge" userId="6c3c80dd-7f6a-44e2-9ebd-5183e747c2e9" providerId="ADAL" clId="{64A7BA29-298F-4460-8882-A0F85B3906CA}" dt="2022-03-01T15:25:26.715" v="1616" actId="1076"/>
          <ac:spMkLst>
            <pc:docMk/>
            <pc:sldMk cId="922484242" sldId="2146846320"/>
            <ac:spMk id="59" creationId="{EF9D011B-02C9-4932-8571-EACD127596DF}"/>
          </ac:spMkLst>
        </pc:spChg>
        <pc:spChg chg="mod">
          <ac:chgData name="Yasmin, Inge" userId="6c3c80dd-7f6a-44e2-9ebd-5183e747c2e9" providerId="ADAL" clId="{64A7BA29-298F-4460-8882-A0F85B3906CA}" dt="2022-03-01T15:25:26.715" v="1616" actId="1076"/>
          <ac:spMkLst>
            <pc:docMk/>
            <pc:sldMk cId="922484242" sldId="2146846320"/>
            <ac:spMk id="60" creationId="{1A07D2ED-C25B-4343-9842-98FE7CDBB62F}"/>
          </ac:spMkLst>
        </pc:spChg>
        <pc:spChg chg="mod">
          <ac:chgData name="Yasmin, Inge" userId="6c3c80dd-7f6a-44e2-9ebd-5183e747c2e9" providerId="ADAL" clId="{64A7BA29-298F-4460-8882-A0F85B3906CA}" dt="2022-03-01T15:25:26.715" v="1616" actId="1076"/>
          <ac:spMkLst>
            <pc:docMk/>
            <pc:sldMk cId="922484242" sldId="2146846320"/>
            <ac:spMk id="61" creationId="{F35A34BF-3720-44AE-A17E-056046DC00DA}"/>
          </ac:spMkLst>
        </pc:spChg>
        <pc:spChg chg="mod">
          <ac:chgData name="Yasmin, Inge" userId="6c3c80dd-7f6a-44e2-9ebd-5183e747c2e9" providerId="ADAL" clId="{64A7BA29-298F-4460-8882-A0F85B3906CA}" dt="2022-03-01T15:25:26.715" v="1616" actId="1076"/>
          <ac:spMkLst>
            <pc:docMk/>
            <pc:sldMk cId="922484242" sldId="2146846320"/>
            <ac:spMk id="62" creationId="{CEE1633B-8CF6-43A3-8712-A3262B7FB40F}"/>
          </ac:spMkLst>
        </pc:spChg>
        <pc:spChg chg="mod">
          <ac:chgData name="Yasmin, Inge" userId="6c3c80dd-7f6a-44e2-9ebd-5183e747c2e9" providerId="ADAL" clId="{64A7BA29-298F-4460-8882-A0F85B3906CA}" dt="2022-03-01T15:25:26.715" v="1616" actId="1076"/>
          <ac:spMkLst>
            <pc:docMk/>
            <pc:sldMk cId="922484242" sldId="2146846320"/>
            <ac:spMk id="63" creationId="{156CEA0C-747F-43C0-926C-E662CFEE0B99}"/>
          </ac:spMkLst>
        </pc:spChg>
        <pc:spChg chg="mod">
          <ac:chgData name="Yasmin, Inge" userId="6c3c80dd-7f6a-44e2-9ebd-5183e747c2e9" providerId="ADAL" clId="{64A7BA29-298F-4460-8882-A0F85B3906CA}" dt="2022-03-01T15:25:26.715" v="1616" actId="1076"/>
          <ac:spMkLst>
            <pc:docMk/>
            <pc:sldMk cId="922484242" sldId="2146846320"/>
            <ac:spMk id="64" creationId="{9A3237B0-7CA6-4B1F-B25E-3C349F19A4FC}"/>
          </ac:spMkLst>
        </pc:spChg>
        <pc:spChg chg="mod">
          <ac:chgData name="Yasmin, Inge" userId="6c3c80dd-7f6a-44e2-9ebd-5183e747c2e9" providerId="ADAL" clId="{64A7BA29-298F-4460-8882-A0F85B3906CA}" dt="2022-03-01T15:25:26.715" v="1616" actId="1076"/>
          <ac:spMkLst>
            <pc:docMk/>
            <pc:sldMk cId="922484242" sldId="2146846320"/>
            <ac:spMk id="65" creationId="{F7F410B6-2ECB-4B31-BFE0-3ABEE56B8FF3}"/>
          </ac:spMkLst>
        </pc:spChg>
        <pc:spChg chg="mod">
          <ac:chgData name="Yasmin, Inge" userId="6c3c80dd-7f6a-44e2-9ebd-5183e747c2e9" providerId="ADAL" clId="{64A7BA29-298F-4460-8882-A0F85B3906CA}" dt="2022-03-01T15:25:22.416" v="1615" actId="1076"/>
          <ac:spMkLst>
            <pc:docMk/>
            <pc:sldMk cId="922484242" sldId="2146846320"/>
            <ac:spMk id="67" creationId="{C07BCD64-D397-40F2-873D-998A9FCE6DFF}"/>
          </ac:spMkLst>
        </pc:spChg>
        <pc:spChg chg="mod">
          <ac:chgData name="Yasmin, Inge" userId="6c3c80dd-7f6a-44e2-9ebd-5183e747c2e9" providerId="ADAL" clId="{64A7BA29-298F-4460-8882-A0F85B3906CA}" dt="2022-03-01T15:25:22.416" v="1615" actId="1076"/>
          <ac:spMkLst>
            <pc:docMk/>
            <pc:sldMk cId="922484242" sldId="2146846320"/>
            <ac:spMk id="68" creationId="{208E2D92-C19B-401F-AAA5-B32143A9AC51}"/>
          </ac:spMkLst>
        </pc:spChg>
        <pc:spChg chg="mod">
          <ac:chgData name="Yasmin, Inge" userId="6c3c80dd-7f6a-44e2-9ebd-5183e747c2e9" providerId="ADAL" clId="{64A7BA29-298F-4460-8882-A0F85B3906CA}" dt="2022-03-01T15:25:22.416" v="1615" actId="1076"/>
          <ac:spMkLst>
            <pc:docMk/>
            <pc:sldMk cId="922484242" sldId="2146846320"/>
            <ac:spMk id="69" creationId="{CB2FF2BD-7166-4320-B921-FD43F474BB37}"/>
          </ac:spMkLst>
        </pc:spChg>
        <pc:spChg chg="mod">
          <ac:chgData name="Yasmin, Inge" userId="6c3c80dd-7f6a-44e2-9ebd-5183e747c2e9" providerId="ADAL" clId="{64A7BA29-298F-4460-8882-A0F85B3906CA}" dt="2022-03-01T15:25:22.416" v="1615" actId="1076"/>
          <ac:spMkLst>
            <pc:docMk/>
            <pc:sldMk cId="922484242" sldId="2146846320"/>
            <ac:spMk id="70" creationId="{E3C779AF-8094-4F2D-8B02-97382C9855B7}"/>
          </ac:spMkLst>
        </pc:spChg>
        <pc:spChg chg="mod">
          <ac:chgData name="Yasmin, Inge" userId="6c3c80dd-7f6a-44e2-9ebd-5183e747c2e9" providerId="ADAL" clId="{64A7BA29-298F-4460-8882-A0F85B3906CA}" dt="2022-03-01T15:25:22.416" v="1615" actId="1076"/>
          <ac:spMkLst>
            <pc:docMk/>
            <pc:sldMk cId="922484242" sldId="2146846320"/>
            <ac:spMk id="71" creationId="{96AED666-F828-4A77-8DF6-99A50257E8E1}"/>
          </ac:spMkLst>
        </pc:spChg>
        <pc:spChg chg="mod">
          <ac:chgData name="Yasmin, Inge" userId="6c3c80dd-7f6a-44e2-9ebd-5183e747c2e9" providerId="ADAL" clId="{64A7BA29-298F-4460-8882-A0F85B3906CA}" dt="2022-03-01T15:25:22.416" v="1615" actId="1076"/>
          <ac:spMkLst>
            <pc:docMk/>
            <pc:sldMk cId="922484242" sldId="2146846320"/>
            <ac:spMk id="72" creationId="{4CEBF91D-6A67-40E6-9C2E-06B013BB0975}"/>
          </ac:spMkLst>
        </pc:spChg>
        <pc:spChg chg="mod">
          <ac:chgData name="Yasmin, Inge" userId="6c3c80dd-7f6a-44e2-9ebd-5183e747c2e9" providerId="ADAL" clId="{64A7BA29-298F-4460-8882-A0F85B3906CA}" dt="2022-03-01T15:25:22.416" v="1615" actId="1076"/>
          <ac:spMkLst>
            <pc:docMk/>
            <pc:sldMk cId="922484242" sldId="2146846320"/>
            <ac:spMk id="73" creationId="{DCBB0F1E-3EEC-410E-B590-73F90A374C4A}"/>
          </ac:spMkLst>
        </pc:spChg>
        <pc:spChg chg="mod">
          <ac:chgData name="Yasmin, Inge" userId="6c3c80dd-7f6a-44e2-9ebd-5183e747c2e9" providerId="ADAL" clId="{64A7BA29-298F-4460-8882-A0F85B3906CA}" dt="2022-03-01T15:25:22.416" v="1615" actId="1076"/>
          <ac:spMkLst>
            <pc:docMk/>
            <pc:sldMk cId="922484242" sldId="2146846320"/>
            <ac:spMk id="74" creationId="{51F159B4-23FC-42B9-9995-F7B9939DCBCF}"/>
          </ac:spMkLst>
        </pc:spChg>
        <pc:spChg chg="mod">
          <ac:chgData name="Yasmin, Inge" userId="6c3c80dd-7f6a-44e2-9ebd-5183e747c2e9" providerId="ADAL" clId="{64A7BA29-298F-4460-8882-A0F85B3906CA}" dt="2022-03-01T15:25:22.416" v="1615" actId="1076"/>
          <ac:spMkLst>
            <pc:docMk/>
            <pc:sldMk cId="922484242" sldId="2146846320"/>
            <ac:spMk id="75" creationId="{52863764-BFAF-45BA-98FB-B384FC6B29BB}"/>
          </ac:spMkLst>
        </pc:spChg>
        <pc:spChg chg="mod">
          <ac:chgData name="Yasmin, Inge" userId="6c3c80dd-7f6a-44e2-9ebd-5183e747c2e9" providerId="ADAL" clId="{64A7BA29-298F-4460-8882-A0F85B3906CA}" dt="2022-03-01T15:25:22.416" v="1615" actId="1076"/>
          <ac:spMkLst>
            <pc:docMk/>
            <pc:sldMk cId="922484242" sldId="2146846320"/>
            <ac:spMk id="76" creationId="{E45990B6-750C-4643-872E-F3CCF106D9F8}"/>
          </ac:spMkLst>
        </pc:spChg>
        <pc:spChg chg="mod">
          <ac:chgData name="Yasmin, Inge" userId="6c3c80dd-7f6a-44e2-9ebd-5183e747c2e9" providerId="ADAL" clId="{64A7BA29-298F-4460-8882-A0F85B3906CA}" dt="2022-03-01T15:25:22.416" v="1615" actId="1076"/>
          <ac:spMkLst>
            <pc:docMk/>
            <pc:sldMk cId="922484242" sldId="2146846320"/>
            <ac:spMk id="77" creationId="{BF94E70D-E5F1-4926-8550-66E26893EB2F}"/>
          </ac:spMkLst>
        </pc:spChg>
        <pc:spChg chg="mod">
          <ac:chgData name="Yasmin, Inge" userId="6c3c80dd-7f6a-44e2-9ebd-5183e747c2e9" providerId="ADAL" clId="{64A7BA29-298F-4460-8882-A0F85B3906CA}" dt="2022-03-01T15:25:22.416" v="1615" actId="1076"/>
          <ac:spMkLst>
            <pc:docMk/>
            <pc:sldMk cId="922484242" sldId="2146846320"/>
            <ac:spMk id="78" creationId="{37C97813-61BA-471E-B9C6-68C4ED86C4F3}"/>
          </ac:spMkLst>
        </pc:spChg>
        <pc:spChg chg="mod">
          <ac:chgData name="Yasmin, Inge" userId="6c3c80dd-7f6a-44e2-9ebd-5183e747c2e9" providerId="ADAL" clId="{64A7BA29-298F-4460-8882-A0F85B3906CA}" dt="2022-03-01T15:25:22.416" v="1615" actId="1076"/>
          <ac:spMkLst>
            <pc:docMk/>
            <pc:sldMk cId="922484242" sldId="2146846320"/>
            <ac:spMk id="79" creationId="{5CEE60FF-D55F-4593-A0F8-88673A97CB53}"/>
          </ac:spMkLst>
        </pc:spChg>
        <pc:spChg chg="mod">
          <ac:chgData name="Yasmin, Inge" userId="6c3c80dd-7f6a-44e2-9ebd-5183e747c2e9" providerId="ADAL" clId="{64A7BA29-298F-4460-8882-A0F85B3906CA}" dt="2022-03-01T15:25:22.416" v="1615" actId="1076"/>
          <ac:spMkLst>
            <pc:docMk/>
            <pc:sldMk cId="922484242" sldId="2146846320"/>
            <ac:spMk id="80" creationId="{59542A78-BEBB-4C05-98EC-4249EA47512F}"/>
          </ac:spMkLst>
        </pc:spChg>
        <pc:spChg chg="mod">
          <ac:chgData name="Yasmin, Inge" userId="6c3c80dd-7f6a-44e2-9ebd-5183e747c2e9" providerId="ADAL" clId="{64A7BA29-298F-4460-8882-A0F85B3906CA}" dt="2022-03-01T15:25:22.416" v="1615" actId="1076"/>
          <ac:spMkLst>
            <pc:docMk/>
            <pc:sldMk cId="922484242" sldId="2146846320"/>
            <ac:spMk id="81" creationId="{ED73831A-558B-40ED-B3C8-9C5F83FB9779}"/>
          </ac:spMkLst>
        </pc:spChg>
        <pc:spChg chg="mod">
          <ac:chgData name="Yasmin, Inge" userId="6c3c80dd-7f6a-44e2-9ebd-5183e747c2e9" providerId="ADAL" clId="{64A7BA29-298F-4460-8882-A0F85B3906CA}" dt="2022-03-01T15:25:22.416" v="1615" actId="1076"/>
          <ac:spMkLst>
            <pc:docMk/>
            <pc:sldMk cId="922484242" sldId="2146846320"/>
            <ac:spMk id="82" creationId="{A1848EC2-EB08-49FC-B68E-8A7387DD96D7}"/>
          </ac:spMkLst>
        </pc:spChg>
        <pc:spChg chg="mod">
          <ac:chgData name="Yasmin, Inge" userId="6c3c80dd-7f6a-44e2-9ebd-5183e747c2e9" providerId="ADAL" clId="{64A7BA29-298F-4460-8882-A0F85B3906CA}" dt="2022-03-01T15:25:22.416" v="1615" actId="1076"/>
          <ac:spMkLst>
            <pc:docMk/>
            <pc:sldMk cId="922484242" sldId="2146846320"/>
            <ac:spMk id="83" creationId="{7E39D6B0-006D-494A-82F7-31CAAAB91123}"/>
          </ac:spMkLst>
        </pc:spChg>
        <pc:spChg chg="mod">
          <ac:chgData name="Yasmin, Inge" userId="6c3c80dd-7f6a-44e2-9ebd-5183e747c2e9" providerId="ADAL" clId="{64A7BA29-298F-4460-8882-A0F85B3906CA}" dt="2022-03-01T15:25:22.416" v="1615" actId="1076"/>
          <ac:spMkLst>
            <pc:docMk/>
            <pc:sldMk cId="922484242" sldId="2146846320"/>
            <ac:spMk id="84" creationId="{567427CF-5CB5-4594-993A-66359E73029A}"/>
          </ac:spMkLst>
        </pc:spChg>
        <pc:spChg chg="mod">
          <ac:chgData name="Yasmin, Inge" userId="6c3c80dd-7f6a-44e2-9ebd-5183e747c2e9" providerId="ADAL" clId="{64A7BA29-298F-4460-8882-A0F85B3906CA}" dt="2022-03-01T15:24:55.816" v="1582" actId="1037"/>
          <ac:spMkLst>
            <pc:docMk/>
            <pc:sldMk cId="922484242" sldId="2146846320"/>
            <ac:spMk id="86" creationId="{F99196D8-CE8E-403D-82BC-220F10C03DAB}"/>
          </ac:spMkLst>
        </pc:spChg>
        <pc:spChg chg="mod">
          <ac:chgData name="Yasmin, Inge" userId="6c3c80dd-7f6a-44e2-9ebd-5183e747c2e9" providerId="ADAL" clId="{64A7BA29-298F-4460-8882-A0F85B3906CA}" dt="2022-03-01T15:24:55.816" v="1582" actId="1037"/>
          <ac:spMkLst>
            <pc:docMk/>
            <pc:sldMk cId="922484242" sldId="2146846320"/>
            <ac:spMk id="87" creationId="{AA9FDA54-E798-4ACD-AED8-898D08CA7B2C}"/>
          </ac:spMkLst>
        </pc:spChg>
        <pc:spChg chg="mod">
          <ac:chgData name="Yasmin, Inge" userId="6c3c80dd-7f6a-44e2-9ebd-5183e747c2e9" providerId="ADAL" clId="{64A7BA29-298F-4460-8882-A0F85B3906CA}" dt="2022-03-01T15:31:47.976" v="1759" actId="20577"/>
          <ac:spMkLst>
            <pc:docMk/>
            <pc:sldMk cId="922484242" sldId="2146846320"/>
            <ac:spMk id="88" creationId="{E2D9B477-D7FE-4C36-9E20-436DB8A8F3DA}"/>
          </ac:spMkLst>
        </pc:spChg>
        <pc:spChg chg="mod">
          <ac:chgData name="Yasmin, Inge" userId="6c3c80dd-7f6a-44e2-9ebd-5183e747c2e9" providerId="ADAL" clId="{64A7BA29-298F-4460-8882-A0F85B3906CA}" dt="2022-03-01T15:26:18.241" v="1642" actId="1037"/>
          <ac:spMkLst>
            <pc:docMk/>
            <pc:sldMk cId="922484242" sldId="2146846320"/>
            <ac:spMk id="89" creationId="{36B90AC1-CEEC-49DD-A8A3-E4605D2A6EA7}"/>
          </ac:spMkLst>
        </pc:spChg>
        <pc:spChg chg="mod">
          <ac:chgData name="Yasmin, Inge" userId="6c3c80dd-7f6a-44e2-9ebd-5183e747c2e9" providerId="ADAL" clId="{64A7BA29-298F-4460-8882-A0F85B3906CA}" dt="2022-03-01T15:26:18.241" v="1642" actId="1037"/>
          <ac:spMkLst>
            <pc:docMk/>
            <pc:sldMk cId="922484242" sldId="2146846320"/>
            <ac:spMk id="91" creationId="{E83D857E-97F9-4700-B200-AA2663E52A25}"/>
          </ac:spMkLst>
        </pc:spChg>
        <pc:spChg chg="mod">
          <ac:chgData name="Yasmin, Inge" userId="6c3c80dd-7f6a-44e2-9ebd-5183e747c2e9" providerId="ADAL" clId="{64A7BA29-298F-4460-8882-A0F85B3906CA}" dt="2022-03-01T15:26:46.560" v="1686" actId="1037"/>
          <ac:spMkLst>
            <pc:docMk/>
            <pc:sldMk cId="922484242" sldId="2146846320"/>
            <ac:spMk id="92" creationId="{9CC85DB4-D20F-452B-849D-61B0F59F9C82}"/>
          </ac:spMkLst>
        </pc:spChg>
        <pc:spChg chg="mod">
          <ac:chgData name="Yasmin, Inge" userId="6c3c80dd-7f6a-44e2-9ebd-5183e747c2e9" providerId="ADAL" clId="{64A7BA29-298F-4460-8882-A0F85B3906CA}" dt="2022-03-01T15:23:29.776" v="1531" actId="1038"/>
          <ac:spMkLst>
            <pc:docMk/>
            <pc:sldMk cId="922484242" sldId="2146846320"/>
            <ac:spMk id="94" creationId="{2B8BB960-630B-43F9-A88A-41C55557220F}"/>
          </ac:spMkLst>
        </pc:spChg>
        <pc:spChg chg="mod">
          <ac:chgData name="Yasmin, Inge" userId="6c3c80dd-7f6a-44e2-9ebd-5183e747c2e9" providerId="ADAL" clId="{64A7BA29-298F-4460-8882-A0F85B3906CA}" dt="2022-03-01T15:23:29.776" v="1531" actId="1038"/>
          <ac:spMkLst>
            <pc:docMk/>
            <pc:sldMk cId="922484242" sldId="2146846320"/>
            <ac:spMk id="95" creationId="{71DDFC49-CECF-482C-BA19-7CAB6A252B79}"/>
          </ac:spMkLst>
        </pc:spChg>
        <pc:spChg chg="mod">
          <ac:chgData name="Yasmin, Inge" userId="6c3c80dd-7f6a-44e2-9ebd-5183e747c2e9" providerId="ADAL" clId="{64A7BA29-298F-4460-8882-A0F85B3906CA}" dt="2022-03-01T15:26:24.172" v="1643" actId="1076"/>
          <ac:spMkLst>
            <pc:docMk/>
            <pc:sldMk cId="922484242" sldId="2146846320"/>
            <ac:spMk id="110" creationId="{F63532E7-E216-4E5D-B168-FB963A8BB48C}"/>
          </ac:spMkLst>
        </pc:spChg>
        <pc:spChg chg="mod">
          <ac:chgData name="Yasmin, Inge" userId="6c3c80dd-7f6a-44e2-9ebd-5183e747c2e9" providerId="ADAL" clId="{64A7BA29-298F-4460-8882-A0F85B3906CA}" dt="2022-03-01T15:26:18.241" v="1642" actId="1037"/>
          <ac:spMkLst>
            <pc:docMk/>
            <pc:sldMk cId="922484242" sldId="2146846320"/>
            <ac:spMk id="112" creationId="{9FA85844-9175-4D19-AD2C-3AAFB75AC487}"/>
          </ac:spMkLst>
        </pc:spChg>
        <pc:spChg chg="mod">
          <ac:chgData name="Yasmin, Inge" userId="6c3c80dd-7f6a-44e2-9ebd-5183e747c2e9" providerId="ADAL" clId="{64A7BA29-298F-4460-8882-A0F85B3906CA}" dt="2022-03-01T15:26:18.241" v="1642" actId="1037"/>
          <ac:spMkLst>
            <pc:docMk/>
            <pc:sldMk cId="922484242" sldId="2146846320"/>
            <ac:spMk id="113" creationId="{0ED32820-221C-48C1-ABFD-028748E420C7}"/>
          </ac:spMkLst>
        </pc:spChg>
        <pc:spChg chg="mod">
          <ac:chgData name="Yasmin, Inge" userId="6c3c80dd-7f6a-44e2-9ebd-5183e747c2e9" providerId="ADAL" clId="{64A7BA29-298F-4460-8882-A0F85B3906CA}" dt="2022-03-01T15:26:18.241" v="1642" actId="1037"/>
          <ac:spMkLst>
            <pc:docMk/>
            <pc:sldMk cId="922484242" sldId="2146846320"/>
            <ac:spMk id="114" creationId="{66479EEE-8D42-4E55-89BD-E645032DDBD7}"/>
          </ac:spMkLst>
        </pc:spChg>
        <pc:spChg chg="mod">
          <ac:chgData name="Yasmin, Inge" userId="6c3c80dd-7f6a-44e2-9ebd-5183e747c2e9" providerId="ADAL" clId="{64A7BA29-298F-4460-8882-A0F85B3906CA}" dt="2022-03-01T15:26:18.241" v="1642" actId="1037"/>
          <ac:spMkLst>
            <pc:docMk/>
            <pc:sldMk cId="922484242" sldId="2146846320"/>
            <ac:spMk id="115" creationId="{EC33C588-67AC-495F-8AD3-FA193A7052AA}"/>
          </ac:spMkLst>
        </pc:spChg>
        <pc:spChg chg="mod">
          <ac:chgData name="Yasmin, Inge" userId="6c3c80dd-7f6a-44e2-9ebd-5183e747c2e9" providerId="ADAL" clId="{64A7BA29-298F-4460-8882-A0F85B3906CA}" dt="2022-03-01T15:26:18.241" v="1642" actId="1037"/>
          <ac:spMkLst>
            <pc:docMk/>
            <pc:sldMk cId="922484242" sldId="2146846320"/>
            <ac:spMk id="116" creationId="{0BE9DDA6-D1CB-4A4E-A4C4-E7A5FE5D17C1}"/>
          </ac:spMkLst>
        </pc:spChg>
        <pc:spChg chg="mod">
          <ac:chgData name="Yasmin, Inge" userId="6c3c80dd-7f6a-44e2-9ebd-5183e747c2e9" providerId="ADAL" clId="{64A7BA29-298F-4460-8882-A0F85B3906CA}" dt="2022-03-01T15:26:18.241" v="1642" actId="1037"/>
          <ac:spMkLst>
            <pc:docMk/>
            <pc:sldMk cId="922484242" sldId="2146846320"/>
            <ac:spMk id="117" creationId="{F872E19D-292E-4641-8339-8774DD4D1736}"/>
          </ac:spMkLst>
        </pc:spChg>
        <pc:spChg chg="mod">
          <ac:chgData name="Yasmin, Inge" userId="6c3c80dd-7f6a-44e2-9ebd-5183e747c2e9" providerId="ADAL" clId="{64A7BA29-298F-4460-8882-A0F85B3906CA}" dt="2022-03-01T15:26:18.241" v="1642" actId="1037"/>
          <ac:spMkLst>
            <pc:docMk/>
            <pc:sldMk cId="922484242" sldId="2146846320"/>
            <ac:spMk id="118" creationId="{F6BFC86C-BE5B-47B9-8611-6FFF3706C6F0}"/>
          </ac:spMkLst>
        </pc:spChg>
        <pc:spChg chg="mod">
          <ac:chgData name="Yasmin, Inge" userId="6c3c80dd-7f6a-44e2-9ebd-5183e747c2e9" providerId="ADAL" clId="{64A7BA29-298F-4460-8882-A0F85B3906CA}" dt="2022-03-01T15:24:55.816" v="1582" actId="1037"/>
          <ac:spMkLst>
            <pc:docMk/>
            <pc:sldMk cId="922484242" sldId="2146846320"/>
            <ac:spMk id="120" creationId="{0E70D778-7C6E-4444-AE0D-A637E01EDCE7}"/>
          </ac:spMkLst>
        </pc:spChg>
        <pc:spChg chg="mod">
          <ac:chgData name="Yasmin, Inge" userId="6c3c80dd-7f6a-44e2-9ebd-5183e747c2e9" providerId="ADAL" clId="{64A7BA29-298F-4460-8882-A0F85B3906CA}" dt="2022-03-01T15:24:55.816" v="1582" actId="1037"/>
          <ac:spMkLst>
            <pc:docMk/>
            <pc:sldMk cId="922484242" sldId="2146846320"/>
            <ac:spMk id="121" creationId="{6994D177-517B-429C-8FF2-BEF3B0E07649}"/>
          </ac:spMkLst>
        </pc:spChg>
        <pc:spChg chg="mod">
          <ac:chgData name="Yasmin, Inge" userId="6c3c80dd-7f6a-44e2-9ebd-5183e747c2e9" providerId="ADAL" clId="{64A7BA29-298F-4460-8882-A0F85B3906CA}" dt="2022-03-01T15:24:55.816" v="1582" actId="1037"/>
          <ac:spMkLst>
            <pc:docMk/>
            <pc:sldMk cId="922484242" sldId="2146846320"/>
            <ac:spMk id="122" creationId="{8CD491AC-8EC5-4EFB-9A8B-8151BAA61B6A}"/>
          </ac:spMkLst>
        </pc:spChg>
        <pc:spChg chg="mod">
          <ac:chgData name="Yasmin, Inge" userId="6c3c80dd-7f6a-44e2-9ebd-5183e747c2e9" providerId="ADAL" clId="{64A7BA29-298F-4460-8882-A0F85B3906CA}" dt="2022-03-01T15:24:55.816" v="1582" actId="1037"/>
          <ac:spMkLst>
            <pc:docMk/>
            <pc:sldMk cId="922484242" sldId="2146846320"/>
            <ac:spMk id="123" creationId="{D309DFDE-819D-479F-9334-68C4E8DBC69B}"/>
          </ac:spMkLst>
        </pc:spChg>
        <pc:spChg chg="mod">
          <ac:chgData name="Yasmin, Inge" userId="6c3c80dd-7f6a-44e2-9ebd-5183e747c2e9" providerId="ADAL" clId="{64A7BA29-298F-4460-8882-A0F85B3906CA}" dt="2022-03-01T15:24:55.816" v="1582" actId="1037"/>
          <ac:spMkLst>
            <pc:docMk/>
            <pc:sldMk cId="922484242" sldId="2146846320"/>
            <ac:spMk id="124" creationId="{18A7E127-AE00-4BD5-98CE-3D819AD9DB51}"/>
          </ac:spMkLst>
        </pc:spChg>
        <pc:spChg chg="mod">
          <ac:chgData name="Yasmin, Inge" userId="6c3c80dd-7f6a-44e2-9ebd-5183e747c2e9" providerId="ADAL" clId="{64A7BA29-298F-4460-8882-A0F85B3906CA}" dt="2022-03-01T15:24:55.816" v="1582" actId="1037"/>
          <ac:spMkLst>
            <pc:docMk/>
            <pc:sldMk cId="922484242" sldId="2146846320"/>
            <ac:spMk id="125" creationId="{549A7986-8A2B-4861-A6C9-340B9C86474A}"/>
          </ac:spMkLst>
        </pc:spChg>
        <pc:spChg chg="mod">
          <ac:chgData name="Yasmin, Inge" userId="6c3c80dd-7f6a-44e2-9ebd-5183e747c2e9" providerId="ADAL" clId="{64A7BA29-298F-4460-8882-A0F85B3906CA}" dt="2022-03-01T15:24:55.816" v="1582" actId="1037"/>
          <ac:spMkLst>
            <pc:docMk/>
            <pc:sldMk cId="922484242" sldId="2146846320"/>
            <ac:spMk id="126" creationId="{812781F8-0602-4561-B817-56CFCD53F0CF}"/>
          </ac:spMkLst>
        </pc:spChg>
        <pc:spChg chg="mod">
          <ac:chgData name="Yasmin, Inge" userId="6c3c80dd-7f6a-44e2-9ebd-5183e747c2e9" providerId="ADAL" clId="{64A7BA29-298F-4460-8882-A0F85B3906CA}" dt="2022-03-01T15:24:55.816" v="1582" actId="1037"/>
          <ac:spMkLst>
            <pc:docMk/>
            <pc:sldMk cId="922484242" sldId="2146846320"/>
            <ac:spMk id="127" creationId="{FDED4DA9-6DC2-4CEF-BF6A-C04666663CE0}"/>
          </ac:spMkLst>
        </pc:spChg>
        <pc:spChg chg="mod">
          <ac:chgData name="Yasmin, Inge" userId="6c3c80dd-7f6a-44e2-9ebd-5183e747c2e9" providerId="ADAL" clId="{64A7BA29-298F-4460-8882-A0F85B3906CA}" dt="2022-03-01T15:32:10.541" v="1760" actId="6549"/>
          <ac:spMkLst>
            <pc:docMk/>
            <pc:sldMk cId="922484242" sldId="2146846320"/>
            <ac:spMk id="128" creationId="{5DE35997-F02F-47DD-BFB5-6AD496850972}"/>
          </ac:spMkLst>
        </pc:spChg>
        <pc:spChg chg="add mod">
          <ac:chgData name="Yasmin, Inge" userId="6c3c80dd-7f6a-44e2-9ebd-5183e747c2e9" providerId="ADAL" clId="{64A7BA29-298F-4460-8882-A0F85B3906CA}" dt="2022-03-01T15:24:01.530" v="1537" actId="1076"/>
          <ac:spMkLst>
            <pc:docMk/>
            <pc:sldMk cId="922484242" sldId="2146846320"/>
            <ac:spMk id="129" creationId="{986396B3-8B9C-4E39-A878-0AE6EF7F753E}"/>
          </ac:spMkLst>
        </pc:spChg>
        <pc:spChg chg="add mod">
          <ac:chgData name="Yasmin, Inge" userId="6c3c80dd-7f6a-44e2-9ebd-5183e747c2e9" providerId="ADAL" clId="{64A7BA29-298F-4460-8882-A0F85B3906CA}" dt="2022-03-01T15:26:59.774" v="1689" actId="20577"/>
          <ac:spMkLst>
            <pc:docMk/>
            <pc:sldMk cId="922484242" sldId="2146846320"/>
            <ac:spMk id="131" creationId="{DDC4E61F-D994-41C8-9235-96E291B0659E}"/>
          </ac:spMkLst>
        </pc:spChg>
        <pc:spChg chg="add mod">
          <ac:chgData name="Yasmin, Inge" userId="6c3c80dd-7f6a-44e2-9ebd-5183e747c2e9" providerId="ADAL" clId="{64A7BA29-298F-4460-8882-A0F85B3906CA}" dt="2022-03-01T15:31:24.251" v="1698"/>
          <ac:spMkLst>
            <pc:docMk/>
            <pc:sldMk cId="922484242" sldId="2146846320"/>
            <ac:spMk id="132" creationId="{73D7D00F-56B8-4F1D-8554-806558281640}"/>
          </ac:spMkLst>
        </pc:spChg>
        <pc:grpChg chg="mod">
          <ac:chgData name="Yasmin, Inge" userId="6c3c80dd-7f6a-44e2-9ebd-5183e747c2e9" providerId="ADAL" clId="{64A7BA29-298F-4460-8882-A0F85B3906CA}" dt="2022-03-01T15:24:38.053" v="1562" actId="1076"/>
          <ac:grpSpMkLst>
            <pc:docMk/>
            <pc:sldMk cId="922484242" sldId="2146846320"/>
            <ac:grpSpMk id="39" creationId="{31EC492E-1A3E-41A0-BEC6-B61A4CD08B08}"/>
          </ac:grpSpMkLst>
        </pc:grpChg>
        <pc:grpChg chg="mod">
          <ac:chgData name="Yasmin, Inge" userId="6c3c80dd-7f6a-44e2-9ebd-5183e747c2e9" providerId="ADAL" clId="{64A7BA29-298F-4460-8882-A0F85B3906CA}" dt="2022-03-01T15:24:33.043" v="1561" actId="1076"/>
          <ac:grpSpMkLst>
            <pc:docMk/>
            <pc:sldMk cId="922484242" sldId="2146846320"/>
            <ac:grpSpMk id="44" creationId="{E793939B-35C8-4C04-BBC7-FB25331A2A91}"/>
          </ac:grpSpMkLst>
        </pc:grpChg>
        <pc:grpChg chg="mod">
          <ac:chgData name="Yasmin, Inge" userId="6c3c80dd-7f6a-44e2-9ebd-5183e747c2e9" providerId="ADAL" clId="{64A7BA29-298F-4460-8882-A0F85B3906CA}" dt="2022-03-01T15:25:26.715" v="1616" actId="1076"/>
          <ac:grpSpMkLst>
            <pc:docMk/>
            <pc:sldMk cId="922484242" sldId="2146846320"/>
            <ac:grpSpMk id="58" creationId="{5AD8765C-139B-42F0-9EDA-629FBD47AC69}"/>
          </ac:grpSpMkLst>
        </pc:grpChg>
        <pc:grpChg chg="mod">
          <ac:chgData name="Yasmin, Inge" userId="6c3c80dd-7f6a-44e2-9ebd-5183e747c2e9" providerId="ADAL" clId="{64A7BA29-298F-4460-8882-A0F85B3906CA}" dt="2022-03-01T15:25:22.416" v="1615" actId="1076"/>
          <ac:grpSpMkLst>
            <pc:docMk/>
            <pc:sldMk cId="922484242" sldId="2146846320"/>
            <ac:grpSpMk id="66" creationId="{41A7C180-7F5E-4238-B2E6-E373E72FD409}"/>
          </ac:grpSpMkLst>
        </pc:grpChg>
        <pc:grpChg chg="mod">
          <ac:chgData name="Yasmin, Inge" userId="6c3c80dd-7f6a-44e2-9ebd-5183e747c2e9" providerId="ADAL" clId="{64A7BA29-298F-4460-8882-A0F85B3906CA}" dt="2022-03-01T15:24:14.509" v="1558" actId="1035"/>
          <ac:grpSpMkLst>
            <pc:docMk/>
            <pc:sldMk cId="922484242" sldId="2146846320"/>
            <ac:grpSpMk id="96" creationId="{16AF35E5-D3FD-4C36-99D1-206133DCA5D9}"/>
          </ac:grpSpMkLst>
        </pc:grpChg>
        <pc:grpChg chg="mod">
          <ac:chgData name="Yasmin, Inge" userId="6c3c80dd-7f6a-44e2-9ebd-5183e747c2e9" providerId="ADAL" clId="{64A7BA29-298F-4460-8882-A0F85B3906CA}" dt="2022-03-01T15:26:18.241" v="1642" actId="1037"/>
          <ac:grpSpMkLst>
            <pc:docMk/>
            <pc:sldMk cId="922484242" sldId="2146846320"/>
            <ac:grpSpMk id="111" creationId="{DC2F8BEC-789F-4109-BC76-E448CE817816}"/>
          </ac:grpSpMkLst>
        </pc:grpChg>
        <pc:grpChg chg="mod">
          <ac:chgData name="Yasmin, Inge" userId="6c3c80dd-7f6a-44e2-9ebd-5183e747c2e9" providerId="ADAL" clId="{64A7BA29-298F-4460-8882-A0F85B3906CA}" dt="2022-03-01T15:24:55.816" v="1582" actId="1037"/>
          <ac:grpSpMkLst>
            <pc:docMk/>
            <pc:sldMk cId="922484242" sldId="2146846320"/>
            <ac:grpSpMk id="119" creationId="{E253E0F6-AED9-4E95-8172-C74FED25BBCB}"/>
          </ac:grpSpMkLst>
        </pc:grpChg>
        <pc:picChg chg="add mod">
          <ac:chgData name="Yasmin, Inge" userId="6c3c80dd-7f6a-44e2-9ebd-5183e747c2e9" providerId="ADAL" clId="{64A7BA29-298F-4460-8882-A0F85B3906CA}" dt="2022-03-01T15:31:15.083" v="1697" actId="14100"/>
          <ac:picMkLst>
            <pc:docMk/>
            <pc:sldMk cId="922484242" sldId="2146846320"/>
            <ac:picMk id="3" creationId="{D959EFF7-5A3E-49C7-9DDE-FCA2260B0CF8}"/>
          </ac:picMkLst>
        </pc:picChg>
        <pc:cxnChg chg="mod">
          <ac:chgData name="Yasmin, Inge" userId="6c3c80dd-7f6a-44e2-9ebd-5183e747c2e9" providerId="ADAL" clId="{64A7BA29-298F-4460-8882-A0F85B3906CA}" dt="2022-03-01T15:23:08.210" v="1450" actId="1037"/>
          <ac:cxnSpMkLst>
            <pc:docMk/>
            <pc:sldMk cId="922484242" sldId="2146846320"/>
            <ac:cxnSpMk id="8" creationId="{D995ACE0-AA12-406E-90F7-56D5BE5C15EB}"/>
          </ac:cxnSpMkLst>
        </pc:cxnChg>
        <pc:cxnChg chg="mod">
          <ac:chgData name="Yasmin, Inge" userId="6c3c80dd-7f6a-44e2-9ebd-5183e747c2e9" providerId="ADAL" clId="{64A7BA29-298F-4460-8882-A0F85B3906CA}" dt="2022-03-01T15:24:55.816" v="1582" actId="1037"/>
          <ac:cxnSpMkLst>
            <pc:docMk/>
            <pc:sldMk cId="922484242" sldId="2146846320"/>
            <ac:cxnSpMk id="85" creationId="{7D6A140C-8677-46ED-9F75-8F51D74DAA9C}"/>
          </ac:cxnSpMkLst>
        </pc:cxnChg>
        <pc:cxnChg chg="mod">
          <ac:chgData name="Yasmin, Inge" userId="6c3c80dd-7f6a-44e2-9ebd-5183e747c2e9" providerId="ADAL" clId="{64A7BA29-298F-4460-8882-A0F85B3906CA}" dt="2022-03-01T15:26:18.241" v="1642" actId="1037"/>
          <ac:cxnSpMkLst>
            <pc:docMk/>
            <pc:sldMk cId="922484242" sldId="2146846320"/>
            <ac:cxnSpMk id="90" creationId="{E713EBC5-315B-4C84-848E-C2AF55E5FC53}"/>
          </ac:cxnSpMkLst>
        </pc:cxnChg>
        <pc:cxnChg chg="mod">
          <ac:chgData name="Yasmin, Inge" userId="6c3c80dd-7f6a-44e2-9ebd-5183e747c2e9" providerId="ADAL" clId="{64A7BA29-298F-4460-8882-A0F85B3906CA}" dt="2022-03-01T15:23:29.776" v="1531" actId="1038"/>
          <ac:cxnSpMkLst>
            <pc:docMk/>
            <pc:sldMk cId="922484242" sldId="2146846320"/>
            <ac:cxnSpMk id="93" creationId="{02C880A9-7547-46F1-ADF7-B5FF906E3D8F}"/>
          </ac:cxnSpMkLst>
        </pc:cxnChg>
        <pc:cxnChg chg="add mod">
          <ac:chgData name="Yasmin, Inge" userId="6c3c80dd-7f6a-44e2-9ebd-5183e747c2e9" providerId="ADAL" clId="{64A7BA29-298F-4460-8882-A0F85B3906CA}" dt="2022-03-01T15:26:46.560" v="1686" actId="1037"/>
          <ac:cxnSpMkLst>
            <pc:docMk/>
            <pc:sldMk cId="922484242" sldId="2146846320"/>
            <ac:cxnSpMk id="130" creationId="{D55E315F-3DC6-4BFE-B09B-65ED5F9E0505}"/>
          </ac:cxnSpMkLst>
        </pc:cxnChg>
      </pc:sldChg>
      <pc:sldChg chg="addSp delSp modSp new mod modClrScheme chgLayout">
        <pc:chgData name="Yasmin, Inge" userId="6c3c80dd-7f6a-44e2-9ebd-5183e747c2e9" providerId="ADAL" clId="{64A7BA29-298F-4460-8882-A0F85B3906CA}" dt="2022-03-01T16:50:36.895" v="2742" actId="1076"/>
        <pc:sldMkLst>
          <pc:docMk/>
          <pc:sldMk cId="616205668" sldId="2146846321"/>
        </pc:sldMkLst>
        <pc:spChg chg="del">
          <ac:chgData name="Yasmin, Inge" userId="6c3c80dd-7f6a-44e2-9ebd-5183e747c2e9" providerId="ADAL" clId="{64A7BA29-298F-4460-8882-A0F85B3906CA}" dt="2022-03-01T16:28:39.669" v="2184" actId="700"/>
          <ac:spMkLst>
            <pc:docMk/>
            <pc:sldMk cId="616205668" sldId="2146846321"/>
            <ac:spMk id="2" creationId="{D3885C41-E1BA-4E33-AF0E-81BAD56BA4F5}"/>
          </ac:spMkLst>
        </pc:spChg>
        <pc:spChg chg="del">
          <ac:chgData name="Yasmin, Inge" userId="6c3c80dd-7f6a-44e2-9ebd-5183e747c2e9" providerId="ADAL" clId="{64A7BA29-298F-4460-8882-A0F85B3906CA}" dt="2022-03-01T16:28:39.669" v="2184" actId="700"/>
          <ac:spMkLst>
            <pc:docMk/>
            <pc:sldMk cId="616205668" sldId="2146846321"/>
            <ac:spMk id="3" creationId="{9CDA7256-8DE6-4776-B7F6-7A7C41CA7DB8}"/>
          </ac:spMkLst>
        </pc:spChg>
        <pc:spChg chg="mod ord">
          <ac:chgData name="Yasmin, Inge" userId="6c3c80dd-7f6a-44e2-9ebd-5183e747c2e9" providerId="ADAL" clId="{64A7BA29-298F-4460-8882-A0F85B3906CA}" dt="2022-03-01T16:28:39.669" v="2184" actId="700"/>
          <ac:spMkLst>
            <pc:docMk/>
            <pc:sldMk cId="616205668" sldId="2146846321"/>
            <ac:spMk id="4" creationId="{2ABF1838-3665-4C1C-B34C-72203126F11C}"/>
          </ac:spMkLst>
        </pc:spChg>
        <pc:spChg chg="mod ord">
          <ac:chgData name="Yasmin, Inge" userId="6c3c80dd-7f6a-44e2-9ebd-5183e747c2e9" providerId="ADAL" clId="{64A7BA29-298F-4460-8882-A0F85B3906CA}" dt="2022-03-01T16:28:39.669" v="2184" actId="700"/>
          <ac:spMkLst>
            <pc:docMk/>
            <pc:sldMk cId="616205668" sldId="2146846321"/>
            <ac:spMk id="5" creationId="{E9655095-2271-47D7-9C2D-6AB575FDD71E}"/>
          </ac:spMkLst>
        </pc:spChg>
        <pc:spChg chg="add mod">
          <ac:chgData name="Yasmin, Inge" userId="6c3c80dd-7f6a-44e2-9ebd-5183e747c2e9" providerId="ADAL" clId="{64A7BA29-298F-4460-8882-A0F85B3906CA}" dt="2022-03-01T16:50:12.742" v="2739" actId="164"/>
          <ac:spMkLst>
            <pc:docMk/>
            <pc:sldMk cId="616205668" sldId="2146846321"/>
            <ac:spMk id="8" creationId="{0AAE24D8-163A-4829-ACE6-6D3A9C8F0B64}"/>
          </ac:spMkLst>
        </pc:spChg>
        <pc:spChg chg="add mod">
          <ac:chgData name="Yasmin, Inge" userId="6c3c80dd-7f6a-44e2-9ebd-5183e747c2e9" providerId="ADAL" clId="{64A7BA29-298F-4460-8882-A0F85B3906CA}" dt="2022-03-01T16:50:36.895" v="2742" actId="1076"/>
          <ac:spMkLst>
            <pc:docMk/>
            <pc:sldMk cId="616205668" sldId="2146846321"/>
            <ac:spMk id="10" creationId="{09E9E7A5-A501-4DD2-BBD3-165561949943}"/>
          </ac:spMkLst>
        </pc:spChg>
        <pc:spChg chg="add mod">
          <ac:chgData name="Yasmin, Inge" userId="6c3c80dd-7f6a-44e2-9ebd-5183e747c2e9" providerId="ADAL" clId="{64A7BA29-298F-4460-8882-A0F85B3906CA}" dt="2022-03-01T16:49:43.255" v="2735" actId="164"/>
          <ac:spMkLst>
            <pc:docMk/>
            <pc:sldMk cId="616205668" sldId="2146846321"/>
            <ac:spMk id="11" creationId="{34B25E82-A289-4DB1-B267-5D6F515E1718}"/>
          </ac:spMkLst>
        </pc:spChg>
        <pc:spChg chg="add del mod">
          <ac:chgData name="Yasmin, Inge" userId="6c3c80dd-7f6a-44e2-9ebd-5183e747c2e9" providerId="ADAL" clId="{64A7BA29-298F-4460-8882-A0F85B3906CA}" dt="2022-03-01T16:46:24.489" v="2700" actId="21"/>
          <ac:spMkLst>
            <pc:docMk/>
            <pc:sldMk cId="616205668" sldId="2146846321"/>
            <ac:spMk id="12" creationId="{165C9142-A42A-47B2-8D01-72FD0EEFD402}"/>
          </ac:spMkLst>
        </pc:spChg>
        <pc:spChg chg="add del mod">
          <ac:chgData name="Yasmin, Inge" userId="6c3c80dd-7f6a-44e2-9ebd-5183e747c2e9" providerId="ADAL" clId="{64A7BA29-298F-4460-8882-A0F85B3906CA}" dt="2022-03-01T16:46:27.471" v="2701" actId="21"/>
          <ac:spMkLst>
            <pc:docMk/>
            <pc:sldMk cId="616205668" sldId="2146846321"/>
            <ac:spMk id="13" creationId="{3CE66877-7F31-4205-9065-DE0FA73EFAF3}"/>
          </ac:spMkLst>
        </pc:spChg>
        <pc:spChg chg="add mod">
          <ac:chgData name="Yasmin, Inge" userId="6c3c80dd-7f6a-44e2-9ebd-5183e747c2e9" providerId="ADAL" clId="{64A7BA29-298F-4460-8882-A0F85B3906CA}" dt="2022-03-01T16:49:54.136" v="2737" actId="164"/>
          <ac:spMkLst>
            <pc:docMk/>
            <pc:sldMk cId="616205668" sldId="2146846321"/>
            <ac:spMk id="14" creationId="{CC1EE1EA-F03B-4344-B957-62ED64E4697B}"/>
          </ac:spMkLst>
        </pc:spChg>
        <pc:spChg chg="add mod ord">
          <ac:chgData name="Yasmin, Inge" userId="6c3c80dd-7f6a-44e2-9ebd-5183e747c2e9" providerId="ADAL" clId="{64A7BA29-298F-4460-8882-A0F85B3906CA}" dt="2022-03-01T16:49:43.255" v="2735" actId="164"/>
          <ac:spMkLst>
            <pc:docMk/>
            <pc:sldMk cId="616205668" sldId="2146846321"/>
            <ac:spMk id="15" creationId="{62E43F37-9EA2-435C-AEA1-8A902F8E5185}"/>
          </ac:spMkLst>
        </pc:spChg>
        <pc:spChg chg="add mod ord">
          <ac:chgData name="Yasmin, Inge" userId="6c3c80dd-7f6a-44e2-9ebd-5183e747c2e9" providerId="ADAL" clId="{64A7BA29-298F-4460-8882-A0F85B3906CA}" dt="2022-03-01T16:49:54.136" v="2737" actId="164"/>
          <ac:spMkLst>
            <pc:docMk/>
            <pc:sldMk cId="616205668" sldId="2146846321"/>
            <ac:spMk id="16" creationId="{D25142A6-2600-4E5D-8F0A-819E4800D01C}"/>
          </ac:spMkLst>
        </pc:spChg>
        <pc:grpChg chg="add mod">
          <ac:chgData name="Yasmin, Inge" userId="6c3c80dd-7f6a-44e2-9ebd-5183e747c2e9" providerId="ADAL" clId="{64A7BA29-298F-4460-8882-A0F85B3906CA}" dt="2022-03-01T16:49:46.756" v="2736" actId="1076"/>
          <ac:grpSpMkLst>
            <pc:docMk/>
            <pc:sldMk cId="616205668" sldId="2146846321"/>
            <ac:grpSpMk id="17" creationId="{6714B514-5989-4480-AEEC-4CDF0FEE218D}"/>
          </ac:grpSpMkLst>
        </pc:grpChg>
        <pc:grpChg chg="add mod">
          <ac:chgData name="Yasmin, Inge" userId="6c3c80dd-7f6a-44e2-9ebd-5183e747c2e9" providerId="ADAL" clId="{64A7BA29-298F-4460-8882-A0F85B3906CA}" dt="2022-03-01T16:49:58.689" v="2738" actId="1076"/>
          <ac:grpSpMkLst>
            <pc:docMk/>
            <pc:sldMk cId="616205668" sldId="2146846321"/>
            <ac:grpSpMk id="18" creationId="{38010133-F49B-4ECA-AAAF-E4DD3A07FF48}"/>
          </ac:grpSpMkLst>
        </pc:grpChg>
        <pc:grpChg chg="add mod">
          <ac:chgData name="Yasmin, Inge" userId="6c3c80dd-7f6a-44e2-9ebd-5183e747c2e9" providerId="ADAL" clId="{64A7BA29-298F-4460-8882-A0F85B3906CA}" dt="2022-03-01T16:50:36.895" v="2742" actId="1076"/>
          <ac:grpSpMkLst>
            <pc:docMk/>
            <pc:sldMk cId="616205668" sldId="2146846321"/>
            <ac:grpSpMk id="19" creationId="{22EC9FDD-42EA-408C-90D5-515BEE0A2665}"/>
          </ac:grpSpMkLst>
        </pc:grpChg>
        <pc:picChg chg="add mod">
          <ac:chgData name="Yasmin, Inge" userId="6c3c80dd-7f6a-44e2-9ebd-5183e747c2e9" providerId="ADAL" clId="{64A7BA29-298F-4460-8882-A0F85B3906CA}" dt="2022-03-01T16:50:12.742" v="2739" actId="164"/>
          <ac:picMkLst>
            <pc:docMk/>
            <pc:sldMk cId="616205668" sldId="2146846321"/>
            <ac:picMk id="7" creationId="{35B97749-1175-4822-8D63-2D96550703EF}"/>
          </ac:picMkLst>
        </pc:picChg>
      </pc:sldChg>
      <pc:sldChg chg="addSp modSp new mod ord modClrScheme chgLayout">
        <pc:chgData name="Yasmin, Inge" userId="6c3c80dd-7f6a-44e2-9ebd-5183e747c2e9" providerId="ADAL" clId="{64A7BA29-298F-4460-8882-A0F85B3906CA}" dt="2022-03-01T17:43:56.844" v="3901"/>
        <pc:sldMkLst>
          <pc:docMk/>
          <pc:sldMk cId="1117138444" sldId="2146846322"/>
        </pc:sldMkLst>
        <pc:spChg chg="mod ord">
          <ac:chgData name="Yasmin, Inge" userId="6c3c80dd-7f6a-44e2-9ebd-5183e747c2e9" providerId="ADAL" clId="{64A7BA29-298F-4460-8882-A0F85B3906CA}" dt="2022-03-01T16:53:11.800" v="2747" actId="700"/>
          <ac:spMkLst>
            <pc:docMk/>
            <pc:sldMk cId="1117138444" sldId="2146846322"/>
            <ac:spMk id="2" creationId="{80C2AA30-7F43-43B3-AD70-86B7FB592A8A}"/>
          </ac:spMkLst>
        </pc:spChg>
        <pc:spChg chg="mod ord">
          <ac:chgData name="Yasmin, Inge" userId="6c3c80dd-7f6a-44e2-9ebd-5183e747c2e9" providerId="ADAL" clId="{64A7BA29-298F-4460-8882-A0F85B3906CA}" dt="2022-03-01T16:53:11.800" v="2747" actId="700"/>
          <ac:spMkLst>
            <pc:docMk/>
            <pc:sldMk cId="1117138444" sldId="2146846322"/>
            <ac:spMk id="3" creationId="{60FCF01B-403E-4D62-986B-D60F1A3B1997}"/>
          </ac:spMkLst>
        </pc:spChg>
        <pc:spChg chg="add mod ord">
          <ac:chgData name="Yasmin, Inge" userId="6c3c80dd-7f6a-44e2-9ebd-5183e747c2e9" providerId="ADAL" clId="{64A7BA29-298F-4460-8882-A0F85B3906CA}" dt="2022-03-01T17:13:35.556" v="3347" actId="14100"/>
          <ac:spMkLst>
            <pc:docMk/>
            <pc:sldMk cId="1117138444" sldId="2146846322"/>
            <ac:spMk id="4" creationId="{4674689A-C215-4D20-A4E8-442BBBEC4892}"/>
          </ac:spMkLst>
        </pc:spChg>
        <pc:spChg chg="mod">
          <ac:chgData name="Yasmin, Inge" userId="6c3c80dd-7f6a-44e2-9ebd-5183e747c2e9" providerId="ADAL" clId="{64A7BA29-298F-4460-8882-A0F85B3906CA}" dt="2022-03-01T17:06:55.211" v="2818"/>
          <ac:spMkLst>
            <pc:docMk/>
            <pc:sldMk cId="1117138444" sldId="2146846322"/>
            <ac:spMk id="11" creationId="{34D10221-00FE-4FA8-AD5A-9F2FD3D30917}"/>
          </ac:spMkLst>
        </pc:spChg>
        <pc:spChg chg="mod">
          <ac:chgData name="Yasmin, Inge" userId="6c3c80dd-7f6a-44e2-9ebd-5183e747c2e9" providerId="ADAL" clId="{64A7BA29-298F-4460-8882-A0F85B3906CA}" dt="2022-03-01T17:13:40.804" v="3348" actId="404"/>
          <ac:spMkLst>
            <pc:docMk/>
            <pc:sldMk cId="1117138444" sldId="2146846322"/>
            <ac:spMk id="12" creationId="{63B82FF9-15FB-4462-8985-3D452DEC1465}"/>
          </ac:spMkLst>
        </pc:spChg>
        <pc:spChg chg="mod">
          <ac:chgData name="Yasmin, Inge" userId="6c3c80dd-7f6a-44e2-9ebd-5183e747c2e9" providerId="ADAL" clId="{64A7BA29-298F-4460-8882-A0F85B3906CA}" dt="2022-03-01T17:08:29.030" v="2971"/>
          <ac:spMkLst>
            <pc:docMk/>
            <pc:sldMk cId="1117138444" sldId="2146846322"/>
            <ac:spMk id="14" creationId="{381501D6-079A-4D04-A8D3-393B34C6AB4F}"/>
          </ac:spMkLst>
        </pc:spChg>
        <pc:spChg chg="mod">
          <ac:chgData name="Yasmin, Inge" userId="6c3c80dd-7f6a-44e2-9ebd-5183e747c2e9" providerId="ADAL" clId="{64A7BA29-298F-4460-8882-A0F85B3906CA}" dt="2022-03-01T17:13:46.622" v="3349" actId="404"/>
          <ac:spMkLst>
            <pc:docMk/>
            <pc:sldMk cId="1117138444" sldId="2146846322"/>
            <ac:spMk id="15" creationId="{5B3B862F-75FD-42C2-B302-CE9B660271A9}"/>
          </ac:spMkLst>
        </pc:spChg>
        <pc:spChg chg="mod">
          <ac:chgData name="Yasmin, Inge" userId="6c3c80dd-7f6a-44e2-9ebd-5183e747c2e9" providerId="ADAL" clId="{64A7BA29-298F-4460-8882-A0F85B3906CA}" dt="2022-03-01T17:17:28.062" v="3568" actId="14100"/>
          <ac:spMkLst>
            <pc:docMk/>
            <pc:sldMk cId="1117138444" sldId="2146846322"/>
            <ac:spMk id="17" creationId="{D5901F05-AE7D-434A-823B-9E6275A71DA3}"/>
          </ac:spMkLst>
        </pc:spChg>
        <pc:spChg chg="mod">
          <ac:chgData name="Yasmin, Inge" userId="6c3c80dd-7f6a-44e2-9ebd-5183e747c2e9" providerId="ADAL" clId="{64A7BA29-298F-4460-8882-A0F85B3906CA}" dt="2022-03-01T17:17:18.531" v="3562" actId="1076"/>
          <ac:spMkLst>
            <pc:docMk/>
            <pc:sldMk cId="1117138444" sldId="2146846322"/>
            <ac:spMk id="18" creationId="{5B6C5712-C64A-4335-A17D-CB09E5014FBE}"/>
          </ac:spMkLst>
        </pc:spChg>
        <pc:spChg chg="mod">
          <ac:chgData name="Yasmin, Inge" userId="6c3c80dd-7f6a-44e2-9ebd-5183e747c2e9" providerId="ADAL" clId="{64A7BA29-298F-4460-8882-A0F85B3906CA}" dt="2022-03-01T17:13:25.444" v="3344"/>
          <ac:spMkLst>
            <pc:docMk/>
            <pc:sldMk cId="1117138444" sldId="2146846322"/>
            <ac:spMk id="20" creationId="{FB44E594-E775-48DD-B9C8-9B2972027AB1}"/>
          </ac:spMkLst>
        </pc:spChg>
        <pc:spChg chg="mod">
          <ac:chgData name="Yasmin, Inge" userId="6c3c80dd-7f6a-44e2-9ebd-5183e747c2e9" providerId="ADAL" clId="{64A7BA29-298F-4460-8882-A0F85B3906CA}" dt="2022-03-01T17:19:45.059" v="3783" actId="20577"/>
          <ac:spMkLst>
            <pc:docMk/>
            <pc:sldMk cId="1117138444" sldId="2146846322"/>
            <ac:spMk id="21" creationId="{B5713D86-A419-463C-A372-0AEB2088291D}"/>
          </ac:spMkLst>
        </pc:spChg>
        <pc:grpChg chg="add mod">
          <ac:chgData name="Yasmin, Inge" userId="6c3c80dd-7f6a-44e2-9ebd-5183e747c2e9" providerId="ADAL" clId="{64A7BA29-298F-4460-8882-A0F85B3906CA}" dt="2022-03-01T17:11:17.360" v="3265" actId="1076"/>
          <ac:grpSpMkLst>
            <pc:docMk/>
            <pc:sldMk cId="1117138444" sldId="2146846322"/>
            <ac:grpSpMk id="9" creationId="{5F7E843B-741F-4CA0-8CA6-9279F2C18691}"/>
          </ac:grpSpMkLst>
        </pc:grpChg>
        <pc:grpChg chg="add mod">
          <ac:chgData name="Yasmin, Inge" userId="6c3c80dd-7f6a-44e2-9ebd-5183e747c2e9" providerId="ADAL" clId="{64A7BA29-298F-4460-8882-A0F85B3906CA}" dt="2022-03-01T17:14:23.255" v="3357" actId="14100"/>
          <ac:grpSpMkLst>
            <pc:docMk/>
            <pc:sldMk cId="1117138444" sldId="2146846322"/>
            <ac:grpSpMk id="10" creationId="{543AAF37-7277-4FF4-9E0F-3D26F29FEAD0}"/>
          </ac:grpSpMkLst>
        </pc:grpChg>
        <pc:grpChg chg="add mod">
          <ac:chgData name="Yasmin, Inge" userId="6c3c80dd-7f6a-44e2-9ebd-5183e747c2e9" providerId="ADAL" clId="{64A7BA29-298F-4460-8882-A0F85B3906CA}" dt="2022-03-01T17:14:23.255" v="3357" actId="14100"/>
          <ac:grpSpMkLst>
            <pc:docMk/>
            <pc:sldMk cId="1117138444" sldId="2146846322"/>
            <ac:grpSpMk id="13" creationId="{76AC90FF-99B3-465F-8B2C-D8EBB9C33D47}"/>
          </ac:grpSpMkLst>
        </pc:grpChg>
        <pc:grpChg chg="add mod">
          <ac:chgData name="Yasmin, Inge" userId="6c3c80dd-7f6a-44e2-9ebd-5183e747c2e9" providerId="ADAL" clId="{64A7BA29-298F-4460-8882-A0F85B3906CA}" dt="2022-03-01T17:17:44.859" v="3569" actId="1076"/>
          <ac:grpSpMkLst>
            <pc:docMk/>
            <pc:sldMk cId="1117138444" sldId="2146846322"/>
            <ac:grpSpMk id="16" creationId="{11C402FF-F629-404B-B4C9-228949C5C13E}"/>
          </ac:grpSpMkLst>
        </pc:grpChg>
        <pc:grpChg chg="add mod">
          <ac:chgData name="Yasmin, Inge" userId="6c3c80dd-7f6a-44e2-9ebd-5183e747c2e9" providerId="ADAL" clId="{64A7BA29-298F-4460-8882-A0F85B3906CA}" dt="2022-03-01T17:14:23.255" v="3357" actId="14100"/>
          <ac:grpSpMkLst>
            <pc:docMk/>
            <pc:sldMk cId="1117138444" sldId="2146846322"/>
            <ac:grpSpMk id="19" creationId="{9B5BE383-4158-442D-AD59-19446C8420A8}"/>
          </ac:grpSpMkLst>
        </pc:grpChg>
        <pc:picChg chg="add mod">
          <ac:chgData name="Yasmin, Inge" userId="6c3c80dd-7f6a-44e2-9ebd-5183e747c2e9" providerId="ADAL" clId="{64A7BA29-298F-4460-8882-A0F85B3906CA}" dt="2022-03-01T17:05:16.153" v="2814" actId="164"/>
          <ac:picMkLst>
            <pc:docMk/>
            <pc:sldMk cId="1117138444" sldId="2146846322"/>
            <ac:picMk id="6" creationId="{B446A85C-BC92-40F7-A4A4-C67563847217}"/>
          </ac:picMkLst>
        </pc:picChg>
        <pc:picChg chg="add mod modCrop">
          <ac:chgData name="Yasmin, Inge" userId="6c3c80dd-7f6a-44e2-9ebd-5183e747c2e9" providerId="ADAL" clId="{64A7BA29-298F-4460-8882-A0F85B3906CA}" dt="2022-03-01T17:05:16.153" v="2814" actId="164"/>
          <ac:picMkLst>
            <pc:docMk/>
            <pc:sldMk cId="1117138444" sldId="2146846322"/>
            <ac:picMk id="8" creationId="{0D78605F-343C-4B1C-B249-FCBE700BC5CB}"/>
          </ac:picMkLst>
        </pc:picChg>
      </pc:sldChg>
      <pc:sldChg chg="delSp modSp add mod ord">
        <pc:chgData name="Yasmin, Inge" userId="6c3c80dd-7f6a-44e2-9ebd-5183e747c2e9" providerId="ADAL" clId="{64A7BA29-298F-4460-8882-A0F85B3906CA}" dt="2022-03-01T17:52:16.438" v="4231"/>
        <pc:sldMkLst>
          <pc:docMk/>
          <pc:sldMk cId="803319122" sldId="2146846323"/>
        </pc:sldMkLst>
        <pc:spChg chg="del">
          <ac:chgData name="Yasmin, Inge" userId="6c3c80dd-7f6a-44e2-9ebd-5183e747c2e9" providerId="ADAL" clId="{64A7BA29-298F-4460-8882-A0F85B3906CA}" dt="2022-03-01T17:35:19.368" v="3859" actId="478"/>
          <ac:spMkLst>
            <pc:docMk/>
            <pc:sldMk cId="803319122" sldId="2146846323"/>
            <ac:spMk id="59" creationId="{2855E37C-0A0F-4237-A42E-5AB8E3935914}"/>
          </ac:spMkLst>
        </pc:spChg>
        <pc:spChg chg="del">
          <ac:chgData name="Yasmin, Inge" userId="6c3c80dd-7f6a-44e2-9ebd-5183e747c2e9" providerId="ADAL" clId="{64A7BA29-298F-4460-8882-A0F85B3906CA}" dt="2022-03-01T17:35:19.368" v="3859" actId="478"/>
          <ac:spMkLst>
            <pc:docMk/>
            <pc:sldMk cId="803319122" sldId="2146846323"/>
            <ac:spMk id="60" creationId="{C5BFB5C8-70B1-414A-B2C5-6DB15AF17A32}"/>
          </ac:spMkLst>
        </pc:spChg>
        <pc:spChg chg="del">
          <ac:chgData name="Yasmin, Inge" userId="6c3c80dd-7f6a-44e2-9ebd-5183e747c2e9" providerId="ADAL" clId="{64A7BA29-298F-4460-8882-A0F85B3906CA}" dt="2022-03-01T17:35:19.368" v="3859" actId="478"/>
          <ac:spMkLst>
            <pc:docMk/>
            <pc:sldMk cId="803319122" sldId="2146846323"/>
            <ac:spMk id="61" creationId="{C70CDA5F-9D09-4E97-BE28-7BDF69D6A007}"/>
          </ac:spMkLst>
        </pc:spChg>
        <pc:spChg chg="del">
          <ac:chgData name="Yasmin, Inge" userId="6c3c80dd-7f6a-44e2-9ebd-5183e747c2e9" providerId="ADAL" clId="{64A7BA29-298F-4460-8882-A0F85B3906CA}" dt="2022-03-01T17:35:19.368" v="3859" actId="478"/>
          <ac:spMkLst>
            <pc:docMk/>
            <pc:sldMk cId="803319122" sldId="2146846323"/>
            <ac:spMk id="62" creationId="{944CA9EE-81D7-4152-86E1-0937756F24AD}"/>
          </ac:spMkLst>
        </pc:spChg>
        <pc:spChg chg="del">
          <ac:chgData name="Yasmin, Inge" userId="6c3c80dd-7f6a-44e2-9ebd-5183e747c2e9" providerId="ADAL" clId="{64A7BA29-298F-4460-8882-A0F85B3906CA}" dt="2022-03-01T17:35:19.368" v="3859" actId="478"/>
          <ac:spMkLst>
            <pc:docMk/>
            <pc:sldMk cId="803319122" sldId="2146846323"/>
            <ac:spMk id="63" creationId="{82FF353C-FB7A-4244-9876-CCB4A6069182}"/>
          </ac:spMkLst>
        </pc:spChg>
        <pc:spChg chg="del">
          <ac:chgData name="Yasmin, Inge" userId="6c3c80dd-7f6a-44e2-9ebd-5183e747c2e9" providerId="ADAL" clId="{64A7BA29-298F-4460-8882-A0F85B3906CA}" dt="2022-03-01T17:35:19.368" v="3859" actId="478"/>
          <ac:spMkLst>
            <pc:docMk/>
            <pc:sldMk cId="803319122" sldId="2146846323"/>
            <ac:spMk id="64" creationId="{D71C32DC-435F-4FCB-B001-23E166CD8313}"/>
          </ac:spMkLst>
        </pc:spChg>
        <pc:spChg chg="del">
          <ac:chgData name="Yasmin, Inge" userId="6c3c80dd-7f6a-44e2-9ebd-5183e747c2e9" providerId="ADAL" clId="{64A7BA29-298F-4460-8882-A0F85B3906CA}" dt="2022-03-01T17:35:19.368" v="3859" actId="478"/>
          <ac:spMkLst>
            <pc:docMk/>
            <pc:sldMk cId="803319122" sldId="2146846323"/>
            <ac:spMk id="65" creationId="{F1166EB1-C5C1-4EA3-A48C-9E6D9626B4D0}"/>
          </ac:spMkLst>
        </pc:spChg>
        <pc:spChg chg="del">
          <ac:chgData name="Yasmin, Inge" userId="6c3c80dd-7f6a-44e2-9ebd-5183e747c2e9" providerId="ADAL" clId="{64A7BA29-298F-4460-8882-A0F85B3906CA}" dt="2022-03-01T17:35:19.368" v="3859" actId="478"/>
          <ac:spMkLst>
            <pc:docMk/>
            <pc:sldMk cId="803319122" sldId="2146846323"/>
            <ac:spMk id="66" creationId="{D6032F5D-39D8-462E-948F-3D6482FC9364}"/>
          </ac:spMkLst>
        </pc:spChg>
        <pc:spChg chg="mod">
          <ac:chgData name="Yasmin, Inge" userId="6c3c80dd-7f6a-44e2-9ebd-5183e747c2e9" providerId="ADAL" clId="{64A7BA29-298F-4460-8882-A0F85B3906CA}" dt="2022-03-01T17:36:24.694" v="3874" actId="14100"/>
          <ac:spMkLst>
            <pc:docMk/>
            <pc:sldMk cId="803319122" sldId="2146846323"/>
            <ac:spMk id="67" creationId="{A9D92601-99E7-4549-90FF-771535300DE6}"/>
          </ac:spMkLst>
        </pc:spChg>
        <pc:spChg chg="mod">
          <ac:chgData name="Yasmin, Inge" userId="6c3c80dd-7f6a-44e2-9ebd-5183e747c2e9" providerId="ADAL" clId="{64A7BA29-298F-4460-8882-A0F85B3906CA}" dt="2022-03-01T17:36:24.694" v="3874" actId="14100"/>
          <ac:spMkLst>
            <pc:docMk/>
            <pc:sldMk cId="803319122" sldId="2146846323"/>
            <ac:spMk id="68" creationId="{21E20C78-0517-45FD-8602-6BABA3673C98}"/>
          </ac:spMkLst>
        </pc:spChg>
        <pc:spChg chg="mod">
          <ac:chgData name="Yasmin, Inge" userId="6c3c80dd-7f6a-44e2-9ebd-5183e747c2e9" providerId="ADAL" clId="{64A7BA29-298F-4460-8882-A0F85B3906CA}" dt="2022-03-01T17:36:24.694" v="3874" actId="14100"/>
          <ac:spMkLst>
            <pc:docMk/>
            <pc:sldMk cId="803319122" sldId="2146846323"/>
            <ac:spMk id="69" creationId="{CDE78C20-CBB0-419C-AF5E-08633B9A815F}"/>
          </ac:spMkLst>
        </pc:spChg>
        <pc:spChg chg="mod">
          <ac:chgData name="Yasmin, Inge" userId="6c3c80dd-7f6a-44e2-9ebd-5183e747c2e9" providerId="ADAL" clId="{64A7BA29-298F-4460-8882-A0F85B3906CA}" dt="2022-03-01T17:36:24.694" v="3874" actId="14100"/>
          <ac:spMkLst>
            <pc:docMk/>
            <pc:sldMk cId="803319122" sldId="2146846323"/>
            <ac:spMk id="70" creationId="{143A7EB5-1C91-4880-BB26-C00516EE5285}"/>
          </ac:spMkLst>
        </pc:spChg>
        <pc:spChg chg="mod">
          <ac:chgData name="Yasmin, Inge" userId="6c3c80dd-7f6a-44e2-9ebd-5183e747c2e9" providerId="ADAL" clId="{64A7BA29-298F-4460-8882-A0F85B3906CA}" dt="2022-03-01T17:37:34.937" v="3895" actId="1076"/>
          <ac:spMkLst>
            <pc:docMk/>
            <pc:sldMk cId="803319122" sldId="2146846323"/>
            <ac:spMk id="71" creationId="{7B6C432E-D648-45CA-B1AE-FAD656E90F58}"/>
          </ac:spMkLst>
        </pc:spChg>
        <pc:spChg chg="mod">
          <ac:chgData name="Yasmin, Inge" userId="6c3c80dd-7f6a-44e2-9ebd-5183e747c2e9" providerId="ADAL" clId="{64A7BA29-298F-4460-8882-A0F85B3906CA}" dt="2022-03-01T17:37:28.802" v="3894" actId="1076"/>
          <ac:spMkLst>
            <pc:docMk/>
            <pc:sldMk cId="803319122" sldId="2146846323"/>
            <ac:spMk id="72" creationId="{53DD8360-1323-4FB2-B7D8-6462B8CF2FA4}"/>
          </ac:spMkLst>
        </pc:spChg>
        <pc:spChg chg="mod">
          <ac:chgData name="Yasmin, Inge" userId="6c3c80dd-7f6a-44e2-9ebd-5183e747c2e9" providerId="ADAL" clId="{64A7BA29-298F-4460-8882-A0F85B3906CA}" dt="2022-03-01T17:37:26.358" v="3893" actId="1076"/>
          <ac:spMkLst>
            <pc:docMk/>
            <pc:sldMk cId="803319122" sldId="2146846323"/>
            <ac:spMk id="73" creationId="{3C8A1223-217A-4FA2-BD54-163B2C43F065}"/>
          </ac:spMkLst>
        </pc:spChg>
        <pc:spChg chg="mod">
          <ac:chgData name="Yasmin, Inge" userId="6c3c80dd-7f6a-44e2-9ebd-5183e747c2e9" providerId="ADAL" clId="{64A7BA29-298F-4460-8882-A0F85B3906CA}" dt="2022-03-01T17:37:21.487" v="3892" actId="1038"/>
          <ac:spMkLst>
            <pc:docMk/>
            <pc:sldMk cId="803319122" sldId="2146846323"/>
            <ac:spMk id="74" creationId="{B373156A-B7B3-4278-8376-5F540BD1D6F9}"/>
          </ac:spMkLst>
        </pc:spChg>
      </pc:sldChg>
      <pc:sldChg chg="new del">
        <pc:chgData name="Yasmin, Inge" userId="6c3c80dd-7f6a-44e2-9ebd-5183e747c2e9" providerId="ADAL" clId="{64A7BA29-298F-4460-8882-A0F85B3906CA}" dt="2022-03-01T17:28:44.651" v="3785" actId="2696"/>
        <pc:sldMkLst>
          <pc:docMk/>
          <pc:sldMk cId="1880272133" sldId="2146846323"/>
        </pc:sldMkLst>
      </pc:sldChg>
      <pc:sldChg chg="addSp delSp modSp new mod">
        <pc:chgData name="Yasmin, Inge" userId="6c3c80dd-7f6a-44e2-9ebd-5183e747c2e9" providerId="ADAL" clId="{64A7BA29-298F-4460-8882-A0F85B3906CA}" dt="2022-03-01T18:16:39.405" v="4502" actId="14100"/>
        <pc:sldMkLst>
          <pc:docMk/>
          <pc:sldMk cId="25559273" sldId="2146846324"/>
        </pc:sldMkLst>
        <pc:spChg chg="mod">
          <ac:chgData name="Yasmin, Inge" userId="6c3c80dd-7f6a-44e2-9ebd-5183e747c2e9" providerId="ADAL" clId="{64A7BA29-298F-4460-8882-A0F85B3906CA}" dt="2022-03-01T18:16:06.619" v="4500" actId="2711"/>
          <ac:spMkLst>
            <pc:docMk/>
            <pc:sldMk cId="25559273" sldId="2146846324"/>
            <ac:spMk id="2" creationId="{4D519172-D3BD-4483-82AA-49B09357E0BC}"/>
          </ac:spMkLst>
        </pc:spChg>
        <pc:spChg chg="del">
          <ac:chgData name="Yasmin, Inge" userId="6c3c80dd-7f6a-44e2-9ebd-5183e747c2e9" providerId="ADAL" clId="{64A7BA29-298F-4460-8882-A0F85B3906CA}" dt="2022-03-01T17:45:42.632" v="3925" actId="21"/>
          <ac:spMkLst>
            <pc:docMk/>
            <pc:sldMk cId="25559273" sldId="2146846324"/>
            <ac:spMk id="3" creationId="{6A6AD3F2-0FC3-461C-8474-F85E229C8CD0}"/>
          </ac:spMkLst>
        </pc:spChg>
        <pc:spChg chg="add mod">
          <ac:chgData name="Yasmin, Inge" userId="6c3c80dd-7f6a-44e2-9ebd-5183e747c2e9" providerId="ADAL" clId="{64A7BA29-298F-4460-8882-A0F85B3906CA}" dt="2022-03-01T17:47:09.676" v="3938" actId="164"/>
          <ac:spMkLst>
            <pc:docMk/>
            <pc:sldMk cId="25559273" sldId="2146846324"/>
            <ac:spMk id="8" creationId="{669853AF-09C3-430C-9DFB-51ECC5F3743B}"/>
          </ac:spMkLst>
        </pc:spChg>
        <pc:spChg chg="add mod">
          <ac:chgData name="Yasmin, Inge" userId="6c3c80dd-7f6a-44e2-9ebd-5183e747c2e9" providerId="ADAL" clId="{64A7BA29-298F-4460-8882-A0F85B3906CA}" dt="2022-03-01T18:16:06.619" v="4500" actId="2711"/>
          <ac:spMkLst>
            <pc:docMk/>
            <pc:sldMk cId="25559273" sldId="2146846324"/>
            <ac:spMk id="16" creationId="{19C91CE4-CA2B-4B31-8176-E1CFE22C02F1}"/>
          </ac:spMkLst>
        </pc:spChg>
        <pc:spChg chg="add mod">
          <ac:chgData name="Yasmin, Inge" userId="6c3c80dd-7f6a-44e2-9ebd-5183e747c2e9" providerId="ADAL" clId="{64A7BA29-298F-4460-8882-A0F85B3906CA}" dt="2022-03-01T18:16:11.783" v="4501" actId="2711"/>
          <ac:spMkLst>
            <pc:docMk/>
            <pc:sldMk cId="25559273" sldId="2146846324"/>
            <ac:spMk id="17" creationId="{8338C22D-3274-4D9E-85FF-F6CCE15F2F22}"/>
          </ac:spMkLst>
        </pc:spChg>
        <pc:spChg chg="add mod">
          <ac:chgData name="Yasmin, Inge" userId="6c3c80dd-7f6a-44e2-9ebd-5183e747c2e9" providerId="ADAL" clId="{64A7BA29-298F-4460-8882-A0F85B3906CA}" dt="2022-03-01T18:16:11.783" v="4501" actId="2711"/>
          <ac:spMkLst>
            <pc:docMk/>
            <pc:sldMk cId="25559273" sldId="2146846324"/>
            <ac:spMk id="18" creationId="{14392F2C-A108-4EEC-85D4-C1863D77BEFD}"/>
          </ac:spMkLst>
        </pc:spChg>
        <pc:grpChg chg="add mod">
          <ac:chgData name="Yasmin, Inge" userId="6c3c80dd-7f6a-44e2-9ebd-5183e747c2e9" providerId="ADAL" clId="{64A7BA29-298F-4460-8882-A0F85B3906CA}" dt="2022-03-01T17:57:32.706" v="4235" actId="1076"/>
          <ac:grpSpMkLst>
            <pc:docMk/>
            <pc:sldMk cId="25559273" sldId="2146846324"/>
            <ac:grpSpMk id="10" creationId="{8E767C3A-7AE0-4F6E-8399-1F637D3BAB90}"/>
          </ac:grpSpMkLst>
        </pc:grpChg>
        <pc:grpChg chg="add mod">
          <ac:chgData name="Yasmin, Inge" userId="6c3c80dd-7f6a-44e2-9ebd-5183e747c2e9" providerId="ADAL" clId="{64A7BA29-298F-4460-8882-A0F85B3906CA}" dt="2022-03-01T17:57:28.734" v="4234" actId="1076"/>
          <ac:grpSpMkLst>
            <pc:docMk/>
            <pc:sldMk cId="25559273" sldId="2146846324"/>
            <ac:grpSpMk id="11" creationId="{7B585126-0C4A-4B9B-9646-B10C129BC308}"/>
          </ac:grpSpMkLst>
        </pc:grpChg>
        <pc:grpChg chg="add mod">
          <ac:chgData name="Yasmin, Inge" userId="6c3c80dd-7f6a-44e2-9ebd-5183e747c2e9" providerId="ADAL" clId="{64A7BA29-298F-4460-8882-A0F85B3906CA}" dt="2022-03-01T17:57:38.543" v="4236" actId="1076"/>
          <ac:grpSpMkLst>
            <pc:docMk/>
            <pc:sldMk cId="25559273" sldId="2146846324"/>
            <ac:grpSpMk id="15" creationId="{72168E52-FEA2-4BD0-8A68-3BE256A98C44}"/>
          </ac:grpSpMkLst>
        </pc:grpChg>
        <pc:grpChg chg="add mod">
          <ac:chgData name="Yasmin, Inge" userId="6c3c80dd-7f6a-44e2-9ebd-5183e747c2e9" providerId="ADAL" clId="{64A7BA29-298F-4460-8882-A0F85B3906CA}" dt="2022-03-01T18:02:32.456" v="4455" actId="1076"/>
          <ac:grpSpMkLst>
            <pc:docMk/>
            <pc:sldMk cId="25559273" sldId="2146846324"/>
            <ac:grpSpMk id="24" creationId="{3C6CF393-3C97-454A-B103-6D12747F3DAD}"/>
          </ac:grpSpMkLst>
        </pc:grpChg>
        <pc:picChg chg="add mod">
          <ac:chgData name="Yasmin, Inge" userId="6c3c80dd-7f6a-44e2-9ebd-5183e747c2e9" providerId="ADAL" clId="{64A7BA29-298F-4460-8882-A0F85B3906CA}" dt="2022-03-01T17:47:09.676" v="3938" actId="164"/>
          <ac:picMkLst>
            <pc:docMk/>
            <pc:sldMk cId="25559273" sldId="2146846324"/>
            <ac:picMk id="5" creationId="{86FD885F-4C18-4038-9D35-3735598B5BB3}"/>
          </ac:picMkLst>
        </pc:picChg>
        <pc:picChg chg="add mod">
          <ac:chgData name="Yasmin, Inge" userId="6c3c80dd-7f6a-44e2-9ebd-5183e747c2e9" providerId="ADAL" clId="{64A7BA29-298F-4460-8882-A0F85B3906CA}" dt="2022-03-01T17:47:05.589" v="3937" actId="164"/>
          <ac:picMkLst>
            <pc:docMk/>
            <pc:sldMk cId="25559273" sldId="2146846324"/>
            <ac:picMk id="7" creationId="{F06A9DF1-EA3E-43F2-85E5-E748F0CD5AA1}"/>
          </ac:picMkLst>
        </pc:picChg>
        <pc:picChg chg="add mod">
          <ac:chgData name="Yasmin, Inge" userId="6c3c80dd-7f6a-44e2-9ebd-5183e747c2e9" providerId="ADAL" clId="{64A7BA29-298F-4460-8882-A0F85B3906CA}" dt="2022-03-01T17:47:05.589" v="3937" actId="164"/>
          <ac:picMkLst>
            <pc:docMk/>
            <pc:sldMk cId="25559273" sldId="2146846324"/>
            <ac:picMk id="9" creationId="{F46BAE0C-B194-445D-9FF8-717B2DEEDD02}"/>
          </ac:picMkLst>
        </pc:picChg>
        <pc:picChg chg="add mod">
          <ac:chgData name="Yasmin, Inge" userId="6c3c80dd-7f6a-44e2-9ebd-5183e747c2e9" providerId="ADAL" clId="{64A7BA29-298F-4460-8882-A0F85B3906CA}" dt="2022-03-01T17:48:22.089" v="3947" actId="164"/>
          <ac:picMkLst>
            <pc:docMk/>
            <pc:sldMk cId="25559273" sldId="2146846324"/>
            <ac:picMk id="13" creationId="{41BE6B54-3A2F-47BD-8FC9-2EA62D72378B}"/>
          </ac:picMkLst>
        </pc:picChg>
        <pc:picChg chg="add mod">
          <ac:chgData name="Yasmin, Inge" userId="6c3c80dd-7f6a-44e2-9ebd-5183e747c2e9" providerId="ADAL" clId="{64A7BA29-298F-4460-8882-A0F85B3906CA}" dt="2022-03-01T17:48:22.089" v="3947" actId="164"/>
          <ac:picMkLst>
            <pc:docMk/>
            <pc:sldMk cId="25559273" sldId="2146846324"/>
            <ac:picMk id="14" creationId="{EDBAA99C-5C6E-49AC-96ED-5990807B8227}"/>
          </ac:picMkLst>
        </pc:picChg>
        <pc:picChg chg="add mod ord">
          <ac:chgData name="Yasmin, Inge" userId="6c3c80dd-7f6a-44e2-9ebd-5183e747c2e9" providerId="ADAL" clId="{64A7BA29-298F-4460-8882-A0F85B3906CA}" dt="2022-03-01T18:16:39.405" v="4502" actId="14100"/>
          <ac:picMkLst>
            <pc:docMk/>
            <pc:sldMk cId="25559273" sldId="2146846324"/>
            <ac:picMk id="20" creationId="{A3C62AD2-B3D6-4BB2-832C-6A9E7C4ED44B}"/>
          </ac:picMkLst>
        </pc:picChg>
        <pc:picChg chg="add mod">
          <ac:chgData name="Yasmin, Inge" userId="6c3c80dd-7f6a-44e2-9ebd-5183e747c2e9" providerId="ADAL" clId="{64A7BA29-298F-4460-8882-A0F85B3906CA}" dt="2022-03-01T18:02:23.427" v="4453" actId="164"/>
          <ac:picMkLst>
            <pc:docMk/>
            <pc:sldMk cId="25559273" sldId="2146846324"/>
            <ac:picMk id="22" creationId="{B1645BC1-6E4C-4BCD-AFA5-882EB1D205C5}"/>
          </ac:picMkLst>
        </pc:picChg>
        <pc:picChg chg="add mod">
          <ac:chgData name="Yasmin, Inge" userId="6c3c80dd-7f6a-44e2-9ebd-5183e747c2e9" providerId="ADAL" clId="{64A7BA29-298F-4460-8882-A0F85B3906CA}" dt="2022-03-01T18:02:23.427" v="4453" actId="164"/>
          <ac:picMkLst>
            <pc:docMk/>
            <pc:sldMk cId="25559273" sldId="2146846324"/>
            <ac:picMk id="23" creationId="{85B62BDE-2232-450A-93CB-8266F5724A56}"/>
          </ac:picMkLst>
        </pc:picChg>
      </pc:sldChg>
      <pc:sldChg chg="addSp delSp modSp new mod">
        <pc:chgData name="Yasmin, Inge" userId="6c3c80dd-7f6a-44e2-9ebd-5183e747c2e9" providerId="ADAL" clId="{64A7BA29-298F-4460-8882-A0F85B3906CA}" dt="2022-03-01T18:38:47.915" v="4838" actId="113"/>
        <pc:sldMkLst>
          <pc:docMk/>
          <pc:sldMk cId="3186515733" sldId="2146846325"/>
        </pc:sldMkLst>
        <pc:spChg chg="mod">
          <ac:chgData name="Yasmin, Inge" userId="6c3c80dd-7f6a-44e2-9ebd-5183e747c2e9" providerId="ADAL" clId="{64A7BA29-298F-4460-8882-A0F85B3906CA}" dt="2022-03-01T18:24:20.552" v="4652" actId="20577"/>
          <ac:spMkLst>
            <pc:docMk/>
            <pc:sldMk cId="3186515733" sldId="2146846325"/>
            <ac:spMk id="2" creationId="{B43C1541-B817-4A91-93A5-1716DE4A3824}"/>
          </ac:spMkLst>
        </pc:spChg>
        <pc:spChg chg="del">
          <ac:chgData name="Yasmin, Inge" userId="6c3c80dd-7f6a-44e2-9ebd-5183e747c2e9" providerId="ADAL" clId="{64A7BA29-298F-4460-8882-A0F85B3906CA}" dt="2022-03-01T18:16:50.614" v="4503" actId="478"/>
          <ac:spMkLst>
            <pc:docMk/>
            <pc:sldMk cId="3186515733" sldId="2146846325"/>
            <ac:spMk id="3" creationId="{0C285F24-C38F-4AAD-985B-91B2C8E6C38D}"/>
          </ac:spMkLst>
        </pc:spChg>
        <pc:spChg chg="add del mod">
          <ac:chgData name="Yasmin, Inge" userId="6c3c80dd-7f6a-44e2-9ebd-5183e747c2e9" providerId="ADAL" clId="{64A7BA29-298F-4460-8882-A0F85B3906CA}" dt="2022-03-01T18:23:31.895" v="4636" actId="21"/>
          <ac:spMkLst>
            <pc:docMk/>
            <pc:sldMk cId="3186515733" sldId="2146846325"/>
            <ac:spMk id="4" creationId="{02EFD305-B5BC-40A5-9355-089D1A9E8158}"/>
          </ac:spMkLst>
        </pc:spChg>
        <pc:spChg chg="mod">
          <ac:chgData name="Yasmin, Inge" userId="6c3c80dd-7f6a-44e2-9ebd-5183e747c2e9" providerId="ADAL" clId="{64A7BA29-298F-4460-8882-A0F85B3906CA}" dt="2022-03-01T18:18:46.625" v="4511"/>
          <ac:spMkLst>
            <pc:docMk/>
            <pc:sldMk cId="3186515733" sldId="2146846325"/>
            <ac:spMk id="6" creationId="{AE55D430-E4AC-400F-B170-284B0D79EC88}"/>
          </ac:spMkLst>
        </pc:spChg>
        <pc:spChg chg="mod">
          <ac:chgData name="Yasmin, Inge" userId="6c3c80dd-7f6a-44e2-9ebd-5183e747c2e9" providerId="ADAL" clId="{64A7BA29-298F-4460-8882-A0F85B3906CA}" dt="2022-03-01T18:32:24.192" v="4756" actId="255"/>
          <ac:spMkLst>
            <pc:docMk/>
            <pc:sldMk cId="3186515733" sldId="2146846325"/>
            <ac:spMk id="7" creationId="{13D7D9FF-F253-4A57-A8AB-14B01AF3AB78}"/>
          </ac:spMkLst>
        </pc:spChg>
        <pc:spChg chg="mod">
          <ac:chgData name="Yasmin, Inge" userId="6c3c80dd-7f6a-44e2-9ebd-5183e747c2e9" providerId="ADAL" clId="{64A7BA29-298F-4460-8882-A0F85B3906CA}" dt="2022-03-01T18:18:46.625" v="4511"/>
          <ac:spMkLst>
            <pc:docMk/>
            <pc:sldMk cId="3186515733" sldId="2146846325"/>
            <ac:spMk id="9" creationId="{0465BE34-44A9-4B19-B0C0-0AD3C4857E8F}"/>
          </ac:spMkLst>
        </pc:spChg>
        <pc:spChg chg="mod">
          <ac:chgData name="Yasmin, Inge" userId="6c3c80dd-7f6a-44e2-9ebd-5183e747c2e9" providerId="ADAL" clId="{64A7BA29-298F-4460-8882-A0F85B3906CA}" dt="2022-03-01T18:32:01.574" v="4754" actId="33524"/>
          <ac:spMkLst>
            <pc:docMk/>
            <pc:sldMk cId="3186515733" sldId="2146846325"/>
            <ac:spMk id="10" creationId="{42718073-122F-4303-AFD7-E06017FCFCE1}"/>
          </ac:spMkLst>
        </pc:spChg>
        <pc:spChg chg="add del mod">
          <ac:chgData name="Yasmin, Inge" userId="6c3c80dd-7f6a-44e2-9ebd-5183e747c2e9" providerId="ADAL" clId="{64A7BA29-298F-4460-8882-A0F85B3906CA}" dt="2022-03-01T18:22:25.601" v="4620" actId="21"/>
          <ac:spMkLst>
            <pc:docMk/>
            <pc:sldMk cId="3186515733" sldId="2146846325"/>
            <ac:spMk id="11" creationId="{9292B8BE-270D-4FAD-A0F4-FD6F81F989E1}"/>
          </ac:spMkLst>
        </pc:spChg>
        <pc:spChg chg="mod topLvl">
          <ac:chgData name="Yasmin, Inge" userId="6c3c80dd-7f6a-44e2-9ebd-5183e747c2e9" providerId="ADAL" clId="{64A7BA29-298F-4460-8882-A0F85B3906CA}" dt="2022-03-01T18:36:51.091" v="4829" actId="207"/>
          <ac:spMkLst>
            <pc:docMk/>
            <pc:sldMk cId="3186515733" sldId="2146846325"/>
            <ac:spMk id="14" creationId="{D2D8CD3C-3B66-4828-9882-6FD127833319}"/>
          </ac:spMkLst>
        </pc:spChg>
        <pc:spChg chg="add del mod topLvl">
          <ac:chgData name="Yasmin, Inge" userId="6c3c80dd-7f6a-44e2-9ebd-5183e747c2e9" providerId="ADAL" clId="{64A7BA29-298F-4460-8882-A0F85B3906CA}" dt="2022-03-01T18:38:47.915" v="4838" actId="113"/>
          <ac:spMkLst>
            <pc:docMk/>
            <pc:sldMk cId="3186515733" sldId="2146846325"/>
            <ac:spMk id="15" creationId="{713604A5-7703-4AC2-BC6C-BEC25C44ED58}"/>
          </ac:spMkLst>
        </pc:spChg>
        <pc:spChg chg="add del mod">
          <ac:chgData name="Yasmin, Inge" userId="6c3c80dd-7f6a-44e2-9ebd-5183e747c2e9" providerId="ADAL" clId="{64A7BA29-298F-4460-8882-A0F85B3906CA}" dt="2022-03-01T18:32:43.136" v="4760" actId="21"/>
          <ac:spMkLst>
            <pc:docMk/>
            <pc:sldMk cId="3186515733" sldId="2146846325"/>
            <ac:spMk id="16" creationId="{3505C456-838B-4928-AAAC-302CFEE86227}"/>
          </ac:spMkLst>
        </pc:spChg>
        <pc:spChg chg="mod">
          <ac:chgData name="Yasmin, Inge" userId="6c3c80dd-7f6a-44e2-9ebd-5183e747c2e9" providerId="ADAL" clId="{64A7BA29-298F-4460-8882-A0F85B3906CA}" dt="2022-03-01T18:32:39.589" v="4759"/>
          <ac:spMkLst>
            <pc:docMk/>
            <pc:sldMk cId="3186515733" sldId="2146846325"/>
            <ac:spMk id="18" creationId="{6FADC81E-0081-4EC5-A160-30026ED9E8FE}"/>
          </ac:spMkLst>
        </pc:spChg>
        <pc:spChg chg="mod">
          <ac:chgData name="Yasmin, Inge" userId="6c3c80dd-7f6a-44e2-9ebd-5183e747c2e9" providerId="ADAL" clId="{64A7BA29-298F-4460-8882-A0F85B3906CA}" dt="2022-03-01T18:33:39.449" v="4767"/>
          <ac:spMkLst>
            <pc:docMk/>
            <pc:sldMk cId="3186515733" sldId="2146846325"/>
            <ac:spMk id="19" creationId="{843B3545-A3E9-45C2-A57D-9F4131CF683C}"/>
          </ac:spMkLst>
        </pc:spChg>
        <pc:grpChg chg="add mod">
          <ac:chgData name="Yasmin, Inge" userId="6c3c80dd-7f6a-44e2-9ebd-5183e747c2e9" providerId="ADAL" clId="{64A7BA29-298F-4460-8882-A0F85B3906CA}" dt="2022-03-01T18:34:50.857" v="4789" actId="1076"/>
          <ac:grpSpMkLst>
            <pc:docMk/>
            <pc:sldMk cId="3186515733" sldId="2146846325"/>
            <ac:grpSpMk id="5" creationId="{284860F8-DDC9-4F0E-BA55-B6C69533DFC9}"/>
          </ac:grpSpMkLst>
        </pc:grpChg>
        <pc:grpChg chg="add mod">
          <ac:chgData name="Yasmin, Inge" userId="6c3c80dd-7f6a-44e2-9ebd-5183e747c2e9" providerId="ADAL" clId="{64A7BA29-298F-4460-8882-A0F85B3906CA}" dt="2022-03-01T18:34:31.161" v="4783" actId="14100"/>
          <ac:grpSpMkLst>
            <pc:docMk/>
            <pc:sldMk cId="3186515733" sldId="2146846325"/>
            <ac:grpSpMk id="8" creationId="{3501E7F0-0B8A-4927-8474-2495E7121C5C}"/>
          </ac:grpSpMkLst>
        </pc:grpChg>
        <pc:grpChg chg="add del mod">
          <ac:chgData name="Yasmin, Inge" userId="6c3c80dd-7f6a-44e2-9ebd-5183e747c2e9" providerId="ADAL" clId="{64A7BA29-298F-4460-8882-A0F85B3906CA}" dt="2022-03-01T18:35:07.620" v="4793" actId="1076"/>
          <ac:grpSpMkLst>
            <pc:docMk/>
            <pc:sldMk cId="3186515733" sldId="2146846325"/>
            <ac:grpSpMk id="13" creationId="{CAE83661-A679-4F74-868B-78C8B3B7FE99}"/>
          </ac:grpSpMkLst>
        </pc:grpChg>
        <pc:grpChg chg="add mod">
          <ac:chgData name="Yasmin, Inge" userId="6c3c80dd-7f6a-44e2-9ebd-5183e747c2e9" providerId="ADAL" clId="{64A7BA29-298F-4460-8882-A0F85B3906CA}" dt="2022-03-01T18:34:55.635" v="4790" actId="1076"/>
          <ac:grpSpMkLst>
            <pc:docMk/>
            <pc:sldMk cId="3186515733" sldId="2146846325"/>
            <ac:grpSpMk id="17" creationId="{6771A455-2B20-4508-A6A1-F21AF2E74571}"/>
          </ac:grpSpMkLst>
        </pc:grpChg>
        <pc:picChg chg="add mod">
          <ac:chgData name="Yasmin, Inge" userId="6c3c80dd-7f6a-44e2-9ebd-5183e747c2e9" providerId="ADAL" clId="{64A7BA29-298F-4460-8882-A0F85B3906CA}" dt="2022-03-01T18:36:31.155" v="4828" actId="1076"/>
          <ac:picMkLst>
            <pc:docMk/>
            <pc:sldMk cId="3186515733" sldId="2146846325"/>
            <ac:picMk id="12" creationId="{7A70B1E0-91B7-47EB-9BB7-10DFA19B651D}"/>
          </ac:picMkLst>
        </pc:picChg>
        <pc:picChg chg="add del">
          <ac:chgData name="Yasmin, Inge" userId="6c3c80dd-7f6a-44e2-9ebd-5183e747c2e9" providerId="ADAL" clId="{64A7BA29-298F-4460-8882-A0F85B3906CA}" dt="2022-03-01T18:37:25.415" v="4832" actId="21"/>
          <ac:picMkLst>
            <pc:docMk/>
            <pc:sldMk cId="3186515733" sldId="2146846325"/>
            <ac:picMk id="20" creationId="{537613B1-BC6B-4CB8-A76F-FE359D16275F}"/>
          </ac:picMkLst>
        </pc:picChg>
      </pc:sldChg>
      <pc:sldChg chg="modSp mod">
        <pc:chgData name="Yasmin, Inge" userId="6c3c80dd-7f6a-44e2-9ebd-5183e747c2e9" providerId="ADAL" clId="{64A7BA29-298F-4460-8882-A0F85B3906CA}" dt="2022-03-01T18:42:12.002" v="4878" actId="20577"/>
        <pc:sldMkLst>
          <pc:docMk/>
          <pc:sldMk cId="3427450302" sldId="2146846326"/>
        </pc:sldMkLst>
        <pc:spChg chg="mod">
          <ac:chgData name="Yasmin, Inge" userId="6c3c80dd-7f6a-44e2-9ebd-5183e747c2e9" providerId="ADAL" clId="{64A7BA29-298F-4460-8882-A0F85B3906CA}" dt="2022-03-01T18:41:38.918" v="4855" actId="20577"/>
          <ac:spMkLst>
            <pc:docMk/>
            <pc:sldMk cId="3427450302" sldId="2146846326"/>
            <ac:spMk id="5" creationId="{A920DF71-299D-4095-AF68-F54B27A572AB}"/>
          </ac:spMkLst>
        </pc:spChg>
        <pc:spChg chg="mod">
          <ac:chgData name="Yasmin, Inge" userId="6c3c80dd-7f6a-44e2-9ebd-5183e747c2e9" providerId="ADAL" clId="{64A7BA29-298F-4460-8882-A0F85B3906CA}" dt="2022-03-01T18:42:12.002" v="4878" actId="20577"/>
          <ac:spMkLst>
            <pc:docMk/>
            <pc:sldMk cId="3427450302" sldId="2146846326"/>
            <ac:spMk id="20" creationId="{4CEE28E1-ABCF-4E12-ACC5-FEF411EA9D7B}"/>
          </ac:spMkLst>
        </pc:spChg>
      </pc:sldChg>
      <pc:sldChg chg="addSp delSp modSp add mod ord">
        <pc:chgData name="Yasmin, Inge" userId="6c3c80dd-7f6a-44e2-9ebd-5183e747c2e9" providerId="ADAL" clId="{64A7BA29-298F-4460-8882-A0F85B3906CA}" dt="2022-03-01T18:50:09.139" v="5051" actId="478"/>
        <pc:sldMkLst>
          <pc:docMk/>
          <pc:sldMk cId="2972535889" sldId="2146846327"/>
        </pc:sldMkLst>
        <pc:spChg chg="mod">
          <ac:chgData name="Yasmin, Inge" userId="6c3c80dd-7f6a-44e2-9ebd-5183e747c2e9" providerId="ADAL" clId="{64A7BA29-298F-4460-8882-A0F85B3906CA}" dt="2022-03-01T18:42:58.625" v="4893" actId="20577"/>
          <ac:spMkLst>
            <pc:docMk/>
            <pc:sldMk cId="2972535889" sldId="2146846327"/>
            <ac:spMk id="2" creationId="{4D519172-D3BD-4483-82AA-49B09357E0BC}"/>
          </ac:spMkLst>
        </pc:spChg>
        <pc:spChg chg="mod">
          <ac:chgData name="Yasmin, Inge" userId="6c3c80dd-7f6a-44e2-9ebd-5183e747c2e9" providerId="ADAL" clId="{64A7BA29-298F-4460-8882-A0F85B3906CA}" dt="2022-03-01T18:49:40.947" v="5046" actId="20577"/>
          <ac:spMkLst>
            <pc:docMk/>
            <pc:sldMk cId="2972535889" sldId="2146846327"/>
            <ac:spMk id="16" creationId="{19C91CE4-CA2B-4B31-8176-E1CFE22C02F1}"/>
          </ac:spMkLst>
        </pc:spChg>
        <pc:spChg chg="del mod">
          <ac:chgData name="Yasmin, Inge" userId="6c3c80dd-7f6a-44e2-9ebd-5183e747c2e9" providerId="ADAL" clId="{64A7BA29-298F-4460-8882-A0F85B3906CA}" dt="2022-03-01T18:50:01.437" v="5048" actId="478"/>
          <ac:spMkLst>
            <pc:docMk/>
            <pc:sldMk cId="2972535889" sldId="2146846327"/>
            <ac:spMk id="17" creationId="{8338C22D-3274-4D9E-85FF-F6CCE15F2F22}"/>
          </ac:spMkLst>
        </pc:spChg>
        <pc:spChg chg="del">
          <ac:chgData name="Yasmin, Inge" userId="6c3c80dd-7f6a-44e2-9ebd-5183e747c2e9" providerId="ADAL" clId="{64A7BA29-298F-4460-8882-A0F85B3906CA}" dt="2022-03-01T18:50:06.954" v="5049" actId="21"/>
          <ac:spMkLst>
            <pc:docMk/>
            <pc:sldMk cId="2972535889" sldId="2146846327"/>
            <ac:spMk id="18" creationId="{14392F2C-A108-4EEC-85D4-C1863D77BEFD}"/>
          </ac:spMkLst>
        </pc:spChg>
        <pc:grpChg chg="del">
          <ac:chgData name="Yasmin, Inge" userId="6c3c80dd-7f6a-44e2-9ebd-5183e747c2e9" providerId="ADAL" clId="{64A7BA29-298F-4460-8882-A0F85B3906CA}" dt="2022-03-01T18:49:09.045" v="5018" actId="478"/>
          <ac:grpSpMkLst>
            <pc:docMk/>
            <pc:sldMk cId="2972535889" sldId="2146846327"/>
            <ac:grpSpMk id="10" creationId="{8E767C3A-7AE0-4F6E-8399-1F637D3BAB90}"/>
          </ac:grpSpMkLst>
        </pc:grpChg>
        <pc:grpChg chg="del">
          <ac:chgData name="Yasmin, Inge" userId="6c3c80dd-7f6a-44e2-9ebd-5183e747c2e9" providerId="ADAL" clId="{64A7BA29-298F-4460-8882-A0F85B3906CA}" dt="2022-03-01T18:49:11.801" v="5019" actId="478"/>
          <ac:grpSpMkLst>
            <pc:docMk/>
            <pc:sldMk cId="2972535889" sldId="2146846327"/>
            <ac:grpSpMk id="11" creationId="{7B585126-0C4A-4B9B-9646-B10C129BC308}"/>
          </ac:grpSpMkLst>
        </pc:grpChg>
        <pc:grpChg chg="del">
          <ac:chgData name="Yasmin, Inge" userId="6c3c80dd-7f6a-44e2-9ebd-5183e747c2e9" providerId="ADAL" clId="{64A7BA29-298F-4460-8882-A0F85B3906CA}" dt="2022-03-01T18:49:19.539" v="5040" actId="478"/>
          <ac:grpSpMkLst>
            <pc:docMk/>
            <pc:sldMk cId="2972535889" sldId="2146846327"/>
            <ac:grpSpMk id="15" creationId="{72168E52-FEA2-4BD0-8A68-3BE256A98C44}"/>
          </ac:grpSpMkLst>
        </pc:grpChg>
        <pc:grpChg chg="del">
          <ac:chgData name="Yasmin, Inge" userId="6c3c80dd-7f6a-44e2-9ebd-5183e747c2e9" providerId="ADAL" clId="{64A7BA29-298F-4460-8882-A0F85B3906CA}" dt="2022-03-01T18:50:08.407" v="5050" actId="478"/>
          <ac:grpSpMkLst>
            <pc:docMk/>
            <pc:sldMk cId="2972535889" sldId="2146846327"/>
            <ac:grpSpMk id="24" creationId="{3C6CF393-3C97-454A-B103-6D12747F3DAD}"/>
          </ac:grpSpMkLst>
        </pc:grpChg>
        <pc:picChg chg="add mod">
          <ac:chgData name="Yasmin, Inge" userId="6c3c80dd-7f6a-44e2-9ebd-5183e747c2e9" providerId="ADAL" clId="{64A7BA29-298F-4460-8882-A0F85B3906CA}" dt="2022-03-01T18:49:24.527" v="5041" actId="1076"/>
          <ac:picMkLst>
            <pc:docMk/>
            <pc:sldMk cId="2972535889" sldId="2146846327"/>
            <ac:picMk id="4" creationId="{7678C42C-40DC-4237-B9D3-609416E5C755}"/>
          </ac:picMkLst>
        </pc:picChg>
        <pc:picChg chg="del">
          <ac:chgData name="Yasmin, Inge" userId="6c3c80dd-7f6a-44e2-9ebd-5183e747c2e9" providerId="ADAL" clId="{64A7BA29-298F-4460-8882-A0F85B3906CA}" dt="2022-03-01T18:50:09.139" v="5051" actId="478"/>
          <ac:picMkLst>
            <pc:docMk/>
            <pc:sldMk cId="2972535889" sldId="2146846327"/>
            <ac:picMk id="20" creationId="{A3C62AD2-B3D6-4BB2-832C-6A9E7C4ED44B}"/>
          </ac:picMkLst>
        </pc:picChg>
      </pc:sldChg>
      <pc:sldChg chg="new del">
        <pc:chgData name="Yasmin, Inge" userId="6c3c80dd-7f6a-44e2-9ebd-5183e747c2e9" providerId="ADAL" clId="{64A7BA29-298F-4460-8882-A0F85B3906CA}" dt="2022-03-01T18:42:34.967" v="4880" actId="2696"/>
        <pc:sldMkLst>
          <pc:docMk/>
          <pc:sldMk cId="3849111230" sldId="2146846327"/>
        </pc:sldMkLst>
      </pc:sldChg>
      <pc:sldChg chg="modSp new del mod">
        <pc:chgData name="Yasmin, Inge" userId="6c3c80dd-7f6a-44e2-9ebd-5183e747c2e9" providerId="ADAL" clId="{64A7BA29-298F-4460-8882-A0F85B3906CA}" dt="2022-03-02T01:51:49.591" v="5065" actId="2696"/>
        <pc:sldMkLst>
          <pc:docMk/>
          <pc:sldMk cId="2772639738" sldId="2146846328"/>
        </pc:sldMkLst>
        <pc:spChg chg="mod">
          <ac:chgData name="Yasmin, Inge" userId="6c3c80dd-7f6a-44e2-9ebd-5183e747c2e9" providerId="ADAL" clId="{64A7BA29-298F-4460-8882-A0F85B3906CA}" dt="2022-03-02T01:51:29.949" v="5062" actId="20577"/>
          <ac:spMkLst>
            <pc:docMk/>
            <pc:sldMk cId="2772639738" sldId="2146846328"/>
            <ac:spMk id="2" creationId="{3DE387B9-DEED-488A-9B5C-460DA9BCBB2D}"/>
          </ac:spMkLst>
        </pc:spChg>
      </pc:sldChg>
      <pc:sldChg chg="addSp delSp modSp add mod">
        <pc:chgData name="Yasmin, Inge" userId="6c3c80dd-7f6a-44e2-9ebd-5183e747c2e9" providerId="ADAL" clId="{64A7BA29-298F-4460-8882-A0F85B3906CA}" dt="2022-03-02T02:09:21.103" v="5399" actId="404"/>
        <pc:sldMkLst>
          <pc:docMk/>
          <pc:sldMk cId="455177013" sldId="2146846329"/>
        </pc:sldMkLst>
        <pc:spChg chg="mod">
          <ac:chgData name="Yasmin, Inge" userId="6c3c80dd-7f6a-44e2-9ebd-5183e747c2e9" providerId="ADAL" clId="{64A7BA29-298F-4460-8882-A0F85B3906CA}" dt="2022-03-02T02:06:46.740" v="5377" actId="1076"/>
          <ac:spMkLst>
            <pc:docMk/>
            <pc:sldMk cId="455177013" sldId="2146846329"/>
            <ac:spMk id="2" creationId="{4D519172-D3BD-4483-82AA-49B09357E0BC}"/>
          </ac:spMkLst>
        </pc:spChg>
        <pc:spChg chg="add mod">
          <ac:chgData name="Yasmin, Inge" userId="6c3c80dd-7f6a-44e2-9ebd-5183e747c2e9" providerId="ADAL" clId="{64A7BA29-298F-4460-8882-A0F85B3906CA}" dt="2022-03-02T02:09:21.103" v="5399" actId="404"/>
          <ac:spMkLst>
            <pc:docMk/>
            <pc:sldMk cId="455177013" sldId="2146846329"/>
            <ac:spMk id="7" creationId="{CDBA0F34-C51D-409C-A475-AA9B10F3126C}"/>
          </ac:spMkLst>
        </pc:spChg>
        <pc:spChg chg="add mod">
          <ac:chgData name="Yasmin, Inge" userId="6c3c80dd-7f6a-44e2-9ebd-5183e747c2e9" providerId="ADAL" clId="{64A7BA29-298F-4460-8882-A0F85B3906CA}" dt="2022-03-02T01:58:32.256" v="5240" actId="20577"/>
          <ac:spMkLst>
            <pc:docMk/>
            <pc:sldMk cId="455177013" sldId="2146846329"/>
            <ac:spMk id="9" creationId="{B92CE2CB-237F-41EC-B935-5AF32E175CF8}"/>
          </ac:spMkLst>
        </pc:spChg>
        <pc:spChg chg="add del mod">
          <ac:chgData name="Yasmin, Inge" userId="6c3c80dd-7f6a-44e2-9ebd-5183e747c2e9" providerId="ADAL" clId="{64A7BA29-298F-4460-8882-A0F85B3906CA}" dt="2022-03-02T02:06:27.278" v="5373" actId="21"/>
          <ac:spMkLst>
            <pc:docMk/>
            <pc:sldMk cId="455177013" sldId="2146846329"/>
            <ac:spMk id="11" creationId="{619E94D4-9478-40E8-BE39-79D8E0A9DFC2}"/>
          </ac:spMkLst>
        </pc:spChg>
        <pc:spChg chg="mod">
          <ac:chgData name="Yasmin, Inge" userId="6c3c80dd-7f6a-44e2-9ebd-5183e747c2e9" providerId="ADAL" clId="{64A7BA29-298F-4460-8882-A0F85B3906CA}" dt="2022-03-02T02:06:43.291" v="5376" actId="1076"/>
          <ac:spMkLst>
            <pc:docMk/>
            <pc:sldMk cId="455177013" sldId="2146846329"/>
            <ac:spMk id="16" creationId="{19C91CE4-CA2B-4B31-8176-E1CFE22C02F1}"/>
          </ac:spMkLst>
        </pc:spChg>
        <pc:picChg chg="del">
          <ac:chgData name="Yasmin, Inge" userId="6c3c80dd-7f6a-44e2-9ebd-5183e747c2e9" providerId="ADAL" clId="{64A7BA29-298F-4460-8882-A0F85B3906CA}" dt="2022-03-02T01:53:31.315" v="5105" actId="21"/>
          <ac:picMkLst>
            <pc:docMk/>
            <pc:sldMk cId="455177013" sldId="2146846329"/>
            <ac:picMk id="4" creationId="{7678C42C-40DC-4237-B9D3-609416E5C755}"/>
          </ac:picMkLst>
        </pc:picChg>
        <pc:picChg chg="add mod modCrop">
          <ac:chgData name="Yasmin, Inge" userId="6c3c80dd-7f6a-44e2-9ebd-5183e747c2e9" providerId="ADAL" clId="{64A7BA29-298F-4460-8882-A0F85B3906CA}" dt="2022-03-02T01:57:04.340" v="5230" actId="1076"/>
          <ac:picMkLst>
            <pc:docMk/>
            <pc:sldMk cId="455177013" sldId="2146846329"/>
            <ac:picMk id="5" creationId="{391C8752-E854-4DB8-A80D-1DD0E55E5E50}"/>
          </ac:picMkLst>
        </pc:picChg>
        <pc:picChg chg="add mod">
          <ac:chgData name="Yasmin, Inge" userId="6c3c80dd-7f6a-44e2-9ebd-5183e747c2e9" providerId="ADAL" clId="{64A7BA29-298F-4460-8882-A0F85B3906CA}" dt="2022-03-02T01:59:18.108" v="5269" actId="1076"/>
          <ac:picMkLst>
            <pc:docMk/>
            <pc:sldMk cId="455177013" sldId="2146846329"/>
            <ac:picMk id="8" creationId="{900EDF43-556A-4C57-B1BF-594CF19459C2}"/>
          </ac:picMkLst>
        </pc:picChg>
      </pc:sldChg>
      <pc:sldChg chg="add del">
        <pc:chgData name="Yasmin, Inge" userId="6c3c80dd-7f6a-44e2-9ebd-5183e747c2e9" providerId="ADAL" clId="{64A7BA29-298F-4460-8882-A0F85B3906CA}" dt="2022-03-02T01:51:56.694" v="5067" actId="2696"/>
        <pc:sldMkLst>
          <pc:docMk/>
          <pc:sldMk cId="3977819667" sldId="2146846330"/>
        </pc:sldMkLst>
      </pc:sldChg>
      <pc:sldChg chg="add del">
        <pc:chgData name="Yasmin, Inge" userId="6c3c80dd-7f6a-44e2-9ebd-5183e747c2e9" providerId="ADAL" clId="{64A7BA29-298F-4460-8882-A0F85B3906CA}" dt="2022-03-02T01:51:58.840" v="5068" actId="2696"/>
        <pc:sldMkLst>
          <pc:docMk/>
          <pc:sldMk cId="4268788344" sldId="2146846331"/>
        </pc:sldMkLst>
      </pc:sldChg>
    </pc:docChg>
  </pc:docChgLst>
  <pc:docChgLst>
    <pc:chgData name="Lusarda, Nada Rizqiana" userId="8c04d34e-9362-4c99-a544-2d7331fa0cbb" providerId="ADAL" clId="{C9A53010-6726-46EE-A3F8-4DA3081B2062}"/>
    <pc:docChg chg="delSld delMainMaster">
      <pc:chgData name="Lusarda, Nada Rizqiana" userId="8c04d34e-9362-4c99-a544-2d7331fa0cbb" providerId="ADAL" clId="{C9A53010-6726-46EE-A3F8-4DA3081B2062}" dt="2022-03-24T09:00:50.462" v="21" actId="47"/>
      <pc:docMkLst>
        <pc:docMk/>
      </pc:docMkLst>
      <pc:sldChg chg="del">
        <pc:chgData name="Lusarda, Nada Rizqiana" userId="8c04d34e-9362-4c99-a544-2d7331fa0cbb" providerId="ADAL" clId="{C9A53010-6726-46EE-A3F8-4DA3081B2062}" dt="2022-03-24T09:00:24.113" v="0" actId="47"/>
        <pc:sldMkLst>
          <pc:docMk/>
          <pc:sldMk cId="3849905919" sldId="256"/>
        </pc:sldMkLst>
      </pc:sldChg>
      <pc:sldChg chg="del">
        <pc:chgData name="Lusarda, Nada Rizqiana" userId="8c04d34e-9362-4c99-a544-2d7331fa0cbb" providerId="ADAL" clId="{C9A53010-6726-46EE-A3F8-4DA3081B2062}" dt="2022-03-24T09:00:24.281" v="1" actId="47"/>
        <pc:sldMkLst>
          <pc:docMk/>
          <pc:sldMk cId="2849996657" sldId="310"/>
        </pc:sldMkLst>
      </pc:sldChg>
      <pc:sldChg chg="del">
        <pc:chgData name="Lusarda, Nada Rizqiana" userId="8c04d34e-9362-4c99-a544-2d7331fa0cbb" providerId="ADAL" clId="{C9A53010-6726-46EE-A3F8-4DA3081B2062}" dt="2022-03-24T09:00:34.084" v="3" actId="47"/>
        <pc:sldMkLst>
          <pc:docMk/>
          <pc:sldMk cId="1699063616" sldId="394"/>
        </pc:sldMkLst>
      </pc:sldChg>
      <pc:sldChg chg="del">
        <pc:chgData name="Lusarda, Nada Rizqiana" userId="8c04d34e-9362-4c99-a544-2d7331fa0cbb" providerId="ADAL" clId="{C9A53010-6726-46EE-A3F8-4DA3081B2062}" dt="2022-03-24T09:00:33.477" v="2" actId="47"/>
        <pc:sldMkLst>
          <pc:docMk/>
          <pc:sldMk cId="2821762031" sldId="395"/>
        </pc:sldMkLst>
      </pc:sldChg>
      <pc:sldChg chg="del">
        <pc:chgData name="Lusarda, Nada Rizqiana" userId="8c04d34e-9362-4c99-a544-2d7331fa0cbb" providerId="ADAL" clId="{C9A53010-6726-46EE-A3F8-4DA3081B2062}" dt="2022-03-24T09:00:39.563" v="5" actId="47"/>
        <pc:sldMkLst>
          <pc:docMk/>
          <pc:sldMk cId="1006745357" sldId="396"/>
        </pc:sldMkLst>
      </pc:sldChg>
      <pc:sldChg chg="del">
        <pc:chgData name="Lusarda, Nada Rizqiana" userId="8c04d34e-9362-4c99-a544-2d7331fa0cbb" providerId="ADAL" clId="{C9A53010-6726-46EE-A3F8-4DA3081B2062}" dt="2022-03-24T09:00:41.481" v="9" actId="47"/>
        <pc:sldMkLst>
          <pc:docMk/>
          <pc:sldMk cId="811957310" sldId="256674"/>
        </pc:sldMkLst>
      </pc:sldChg>
      <pc:sldChg chg="del">
        <pc:chgData name="Lusarda, Nada Rizqiana" userId="8c04d34e-9362-4c99-a544-2d7331fa0cbb" providerId="ADAL" clId="{C9A53010-6726-46EE-A3F8-4DA3081B2062}" dt="2022-03-24T09:00:38.526" v="4" actId="47"/>
        <pc:sldMkLst>
          <pc:docMk/>
          <pc:sldMk cId="922484242" sldId="2146846320"/>
        </pc:sldMkLst>
      </pc:sldChg>
      <pc:sldChg chg="del">
        <pc:chgData name="Lusarda, Nada Rizqiana" userId="8c04d34e-9362-4c99-a544-2d7331fa0cbb" providerId="ADAL" clId="{C9A53010-6726-46EE-A3F8-4DA3081B2062}" dt="2022-03-24T09:00:40.413" v="6" actId="47"/>
        <pc:sldMkLst>
          <pc:docMk/>
          <pc:sldMk cId="616205668" sldId="2146846321"/>
        </pc:sldMkLst>
      </pc:sldChg>
      <pc:sldChg chg="del">
        <pc:chgData name="Lusarda, Nada Rizqiana" userId="8c04d34e-9362-4c99-a544-2d7331fa0cbb" providerId="ADAL" clId="{C9A53010-6726-46EE-A3F8-4DA3081B2062}" dt="2022-03-24T09:00:40.803" v="7" actId="47"/>
        <pc:sldMkLst>
          <pc:docMk/>
          <pc:sldMk cId="1117138444" sldId="2146846322"/>
        </pc:sldMkLst>
      </pc:sldChg>
      <pc:sldChg chg="del">
        <pc:chgData name="Lusarda, Nada Rizqiana" userId="8c04d34e-9362-4c99-a544-2d7331fa0cbb" providerId="ADAL" clId="{C9A53010-6726-46EE-A3F8-4DA3081B2062}" dt="2022-03-24T09:00:41.189" v="8" actId="47"/>
        <pc:sldMkLst>
          <pc:docMk/>
          <pc:sldMk cId="803319122" sldId="2146846323"/>
        </pc:sldMkLst>
      </pc:sldChg>
      <pc:sldChg chg="del">
        <pc:chgData name="Lusarda, Nada Rizqiana" userId="8c04d34e-9362-4c99-a544-2d7331fa0cbb" providerId="ADAL" clId="{C9A53010-6726-46EE-A3F8-4DA3081B2062}" dt="2022-03-24T09:00:42.347" v="10" actId="47"/>
        <pc:sldMkLst>
          <pc:docMk/>
          <pc:sldMk cId="25559273" sldId="2146846324"/>
        </pc:sldMkLst>
      </pc:sldChg>
      <pc:sldChg chg="del">
        <pc:chgData name="Lusarda, Nada Rizqiana" userId="8c04d34e-9362-4c99-a544-2d7331fa0cbb" providerId="ADAL" clId="{C9A53010-6726-46EE-A3F8-4DA3081B2062}" dt="2022-03-24T09:00:42.799" v="11" actId="47"/>
        <pc:sldMkLst>
          <pc:docMk/>
          <pc:sldMk cId="3186515733" sldId="2146846325"/>
        </pc:sldMkLst>
      </pc:sldChg>
      <pc:sldChg chg="del">
        <pc:chgData name="Lusarda, Nada Rizqiana" userId="8c04d34e-9362-4c99-a544-2d7331fa0cbb" providerId="ADAL" clId="{C9A53010-6726-46EE-A3F8-4DA3081B2062}" dt="2022-03-24T09:00:43.445" v="12" actId="47"/>
        <pc:sldMkLst>
          <pc:docMk/>
          <pc:sldMk cId="3427450302" sldId="2146846326"/>
        </pc:sldMkLst>
      </pc:sldChg>
      <pc:sldChg chg="del">
        <pc:chgData name="Lusarda, Nada Rizqiana" userId="8c04d34e-9362-4c99-a544-2d7331fa0cbb" providerId="ADAL" clId="{C9A53010-6726-46EE-A3F8-4DA3081B2062}" dt="2022-03-24T09:00:43.696" v="13" actId="47"/>
        <pc:sldMkLst>
          <pc:docMk/>
          <pc:sldMk cId="2972535889" sldId="2146846327"/>
        </pc:sldMkLst>
      </pc:sldChg>
      <pc:sldChg chg="del">
        <pc:chgData name="Lusarda, Nada Rizqiana" userId="8c04d34e-9362-4c99-a544-2d7331fa0cbb" providerId="ADAL" clId="{C9A53010-6726-46EE-A3F8-4DA3081B2062}" dt="2022-03-24T09:00:44.312" v="14" actId="47"/>
        <pc:sldMkLst>
          <pc:docMk/>
          <pc:sldMk cId="455177013" sldId="2146846329"/>
        </pc:sldMkLst>
      </pc:sldChg>
      <pc:sldChg chg="del">
        <pc:chgData name="Lusarda, Nada Rizqiana" userId="8c04d34e-9362-4c99-a544-2d7331fa0cbb" providerId="ADAL" clId="{C9A53010-6726-46EE-A3F8-4DA3081B2062}" dt="2022-03-24T09:00:45.933" v="15" actId="47"/>
        <pc:sldMkLst>
          <pc:docMk/>
          <pc:sldMk cId="814827615" sldId="2146849403"/>
        </pc:sldMkLst>
      </pc:sldChg>
      <pc:sldChg chg="del">
        <pc:chgData name="Lusarda, Nada Rizqiana" userId="8c04d34e-9362-4c99-a544-2d7331fa0cbb" providerId="ADAL" clId="{C9A53010-6726-46EE-A3F8-4DA3081B2062}" dt="2022-03-24T09:00:46.496" v="16" actId="47"/>
        <pc:sldMkLst>
          <pc:docMk/>
          <pc:sldMk cId="1913059421" sldId="2146849406"/>
        </pc:sldMkLst>
      </pc:sldChg>
      <pc:sldChg chg="del">
        <pc:chgData name="Lusarda, Nada Rizqiana" userId="8c04d34e-9362-4c99-a544-2d7331fa0cbb" providerId="ADAL" clId="{C9A53010-6726-46EE-A3F8-4DA3081B2062}" dt="2022-03-24T09:00:48.163" v="17" actId="47"/>
        <pc:sldMkLst>
          <pc:docMk/>
          <pc:sldMk cId="3992786455" sldId="2146849407"/>
        </pc:sldMkLst>
      </pc:sldChg>
      <pc:sldChg chg="del">
        <pc:chgData name="Lusarda, Nada Rizqiana" userId="8c04d34e-9362-4c99-a544-2d7331fa0cbb" providerId="ADAL" clId="{C9A53010-6726-46EE-A3F8-4DA3081B2062}" dt="2022-03-24T09:00:48.744" v="18" actId="47"/>
        <pc:sldMkLst>
          <pc:docMk/>
          <pc:sldMk cId="1822588797" sldId="2146849408"/>
        </pc:sldMkLst>
      </pc:sldChg>
      <pc:sldChg chg="del">
        <pc:chgData name="Lusarda, Nada Rizqiana" userId="8c04d34e-9362-4c99-a544-2d7331fa0cbb" providerId="ADAL" clId="{C9A53010-6726-46EE-A3F8-4DA3081B2062}" dt="2022-03-24T09:00:49.429" v="19" actId="47"/>
        <pc:sldMkLst>
          <pc:docMk/>
          <pc:sldMk cId="375710606" sldId="2146849409"/>
        </pc:sldMkLst>
      </pc:sldChg>
      <pc:sldChg chg="del">
        <pc:chgData name="Lusarda, Nada Rizqiana" userId="8c04d34e-9362-4c99-a544-2d7331fa0cbb" providerId="ADAL" clId="{C9A53010-6726-46EE-A3F8-4DA3081B2062}" dt="2022-03-24T09:00:50.099" v="20" actId="47"/>
        <pc:sldMkLst>
          <pc:docMk/>
          <pc:sldMk cId="1350469988" sldId="2146849410"/>
        </pc:sldMkLst>
      </pc:sldChg>
      <pc:sldChg chg="del">
        <pc:chgData name="Lusarda, Nada Rizqiana" userId="8c04d34e-9362-4c99-a544-2d7331fa0cbb" providerId="ADAL" clId="{C9A53010-6726-46EE-A3F8-4DA3081B2062}" dt="2022-03-24T09:00:50.462" v="21" actId="47"/>
        <pc:sldMkLst>
          <pc:docMk/>
          <pc:sldMk cId="1606275525" sldId="2146849411"/>
        </pc:sldMkLst>
      </pc:sldChg>
      <pc:sldMasterChg chg="delSldLayout">
        <pc:chgData name="Lusarda, Nada Rizqiana" userId="8c04d34e-9362-4c99-a544-2d7331fa0cbb" providerId="ADAL" clId="{C9A53010-6726-46EE-A3F8-4DA3081B2062}" dt="2022-03-24T09:00:24.281" v="1" actId="47"/>
        <pc:sldMasterMkLst>
          <pc:docMk/>
          <pc:sldMasterMk cId="436129922" sldId="2147483660"/>
        </pc:sldMasterMkLst>
        <pc:sldLayoutChg chg="del">
          <pc:chgData name="Lusarda, Nada Rizqiana" userId="8c04d34e-9362-4c99-a544-2d7331fa0cbb" providerId="ADAL" clId="{C9A53010-6726-46EE-A3F8-4DA3081B2062}" dt="2022-03-24T09:00:24.281" v="1" actId="47"/>
          <pc:sldLayoutMkLst>
            <pc:docMk/>
            <pc:sldMasterMk cId="436129922" sldId="2147483660"/>
            <pc:sldLayoutMk cId="1260481579" sldId="2147483818"/>
          </pc:sldLayoutMkLst>
        </pc:sldLayoutChg>
      </pc:sldMasterChg>
      <pc:sldMasterChg chg="del delSldLayout">
        <pc:chgData name="Lusarda, Nada Rizqiana" userId="8c04d34e-9362-4c99-a544-2d7331fa0cbb" providerId="ADAL" clId="{C9A53010-6726-46EE-A3F8-4DA3081B2062}" dt="2022-03-24T09:00:38.526" v="4" actId="47"/>
        <pc:sldMasterMkLst>
          <pc:docMk/>
          <pc:sldMasterMk cId="1034358185" sldId="2147483709"/>
        </pc:sldMasterMkLst>
        <pc:sldLayoutChg chg="del">
          <pc:chgData name="Lusarda, Nada Rizqiana" userId="8c04d34e-9362-4c99-a544-2d7331fa0cbb" providerId="ADAL" clId="{C9A53010-6726-46EE-A3F8-4DA3081B2062}" dt="2022-03-24T09:00:38.526" v="4" actId="47"/>
          <pc:sldLayoutMkLst>
            <pc:docMk/>
            <pc:sldMasterMk cId="1034358185" sldId="2147483709"/>
            <pc:sldLayoutMk cId="1941366051" sldId="2147483710"/>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133157691" sldId="2147483711"/>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237693824" sldId="2147483712"/>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1686854085" sldId="2147483713"/>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589051756" sldId="2147483714"/>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1707061243" sldId="2147483715"/>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2252769789" sldId="2147483716"/>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308050785" sldId="2147483717"/>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593290270" sldId="2147483718"/>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2284854713" sldId="2147483719"/>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2944790192" sldId="2147483720"/>
          </pc:sldLayoutMkLst>
        </pc:sldLayoutChg>
        <pc:sldLayoutChg chg="del">
          <pc:chgData name="Lusarda, Nada Rizqiana" userId="8c04d34e-9362-4c99-a544-2d7331fa0cbb" providerId="ADAL" clId="{C9A53010-6726-46EE-A3F8-4DA3081B2062}" dt="2022-03-24T09:00:38.526" v="4" actId="47"/>
          <pc:sldLayoutMkLst>
            <pc:docMk/>
            <pc:sldMasterMk cId="1034358185" sldId="2147483709"/>
            <pc:sldLayoutMk cId="3943814681" sldId="2147483721"/>
          </pc:sldLayoutMkLst>
        </pc:sldLayoutChg>
      </pc:sldMasterChg>
      <pc:sldMasterChg chg="delSldLayout">
        <pc:chgData name="Lusarda, Nada Rizqiana" userId="8c04d34e-9362-4c99-a544-2d7331fa0cbb" providerId="ADAL" clId="{C9A53010-6726-46EE-A3F8-4DA3081B2062}" dt="2022-03-24T09:00:50.462" v="21" actId="47"/>
        <pc:sldMasterMkLst>
          <pc:docMk/>
          <pc:sldMasterMk cId="2057555773" sldId="2147483722"/>
        </pc:sldMasterMkLst>
        <pc:sldLayoutChg chg="del">
          <pc:chgData name="Lusarda, Nada Rizqiana" userId="8c04d34e-9362-4c99-a544-2d7331fa0cbb" providerId="ADAL" clId="{C9A53010-6726-46EE-A3F8-4DA3081B2062}" dt="2022-03-24T09:00:44.312" v="14" actId="47"/>
          <pc:sldLayoutMkLst>
            <pc:docMk/>
            <pc:sldMasterMk cId="2057555773" sldId="2147483722"/>
            <pc:sldLayoutMk cId="4035572204" sldId="2147483765"/>
          </pc:sldLayoutMkLst>
        </pc:sldLayoutChg>
        <pc:sldLayoutChg chg="del">
          <pc:chgData name="Lusarda, Nada Rizqiana" userId="8c04d34e-9362-4c99-a544-2d7331fa0cbb" providerId="ADAL" clId="{C9A53010-6726-46EE-A3F8-4DA3081B2062}" dt="2022-03-24T09:00:50.462" v="21" actId="47"/>
          <pc:sldLayoutMkLst>
            <pc:docMk/>
            <pc:sldMasterMk cId="2057555773" sldId="2147483722"/>
            <pc:sldLayoutMk cId="3793975429" sldId="2147483820"/>
          </pc:sldLayoutMkLst>
        </pc:sldLayoutChg>
      </pc:sldMasterChg>
      <pc:sldMasterChg chg="del delSldLayout">
        <pc:chgData name="Lusarda, Nada Rizqiana" userId="8c04d34e-9362-4c99-a544-2d7331fa0cbb" providerId="ADAL" clId="{C9A53010-6726-46EE-A3F8-4DA3081B2062}" dt="2022-03-24T09:00:43.445" v="12" actId="47"/>
        <pc:sldMasterMkLst>
          <pc:docMk/>
          <pc:sldMasterMk cId="3253226448" sldId="2147483777"/>
        </pc:sldMasterMkLst>
        <pc:sldLayoutChg chg="del">
          <pc:chgData name="Lusarda, Nada Rizqiana" userId="8c04d34e-9362-4c99-a544-2d7331fa0cbb" providerId="ADAL" clId="{C9A53010-6726-46EE-A3F8-4DA3081B2062}" dt="2022-03-24T09:00:43.445" v="12" actId="47"/>
          <pc:sldLayoutMkLst>
            <pc:docMk/>
            <pc:sldMasterMk cId="3253226448" sldId="2147483777"/>
            <pc:sldLayoutMk cId="3760102415" sldId="2147483778"/>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212316431" sldId="2147483779"/>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853138255" sldId="2147483780"/>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682730906" sldId="2147483781"/>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616324162" sldId="2147483782"/>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090012144" sldId="2147483783"/>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86674646" sldId="2147483784"/>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953176082" sldId="2147483785"/>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103105381" sldId="2147483786"/>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114875716" sldId="2147483787"/>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514828889" sldId="2147483788"/>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740479230" sldId="2147483789"/>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782389288" sldId="2147483790"/>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680808228" sldId="2147483791"/>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565231006" sldId="2147483792"/>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019254525" sldId="2147483793"/>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025784168" sldId="2147483794"/>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215660724" sldId="2147483795"/>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446811158" sldId="2147483796"/>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866472295" sldId="2147483797"/>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183791039" sldId="2147483798"/>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731545185" sldId="2147483799"/>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856142081" sldId="2147483800"/>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977337846" sldId="2147483801"/>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008418545" sldId="2147483802"/>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419268130" sldId="2147483803"/>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64690749" sldId="2147483804"/>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050193697" sldId="2147483805"/>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251344248" sldId="2147483806"/>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263986849" sldId="2147483807"/>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212070536" sldId="2147483808"/>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466158480" sldId="2147483809"/>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860412163" sldId="2147483810"/>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778409168" sldId="2147483811"/>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13762278" sldId="2147483812"/>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517480739" sldId="2147483813"/>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1434451861" sldId="2147483814"/>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4081558211" sldId="2147483815"/>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3115558768" sldId="2147483816"/>
          </pc:sldLayoutMkLst>
        </pc:sldLayoutChg>
        <pc:sldLayoutChg chg="del">
          <pc:chgData name="Lusarda, Nada Rizqiana" userId="8c04d34e-9362-4c99-a544-2d7331fa0cbb" providerId="ADAL" clId="{C9A53010-6726-46EE-A3F8-4DA3081B2062}" dt="2022-03-24T09:00:43.445" v="12" actId="47"/>
          <pc:sldLayoutMkLst>
            <pc:docMk/>
            <pc:sldMasterMk cId="3253226448" sldId="2147483777"/>
            <pc:sldLayoutMk cId="2225206718" sldId="2147483817"/>
          </pc:sldLayoutMkLst>
        </pc:sldLayoutChg>
      </pc:sldMasterChg>
    </pc:docChg>
  </pc:docChgLst>
  <pc:docChgLst>
    <pc:chgData name="Lusarda, Nada Rizqiana" userId="8c04d34e-9362-4c99-a544-2d7331fa0cbb" providerId="ADAL" clId="{2A39E97C-B54E-4C97-BA53-AAFB293C1805}"/>
    <pc:docChg chg="undo custSel addSld delSld modSld">
      <pc:chgData name="Lusarda, Nada Rizqiana" userId="8c04d34e-9362-4c99-a544-2d7331fa0cbb" providerId="ADAL" clId="{2A39E97C-B54E-4C97-BA53-AAFB293C1805}" dt="2022-03-02T04:00:13.142" v="171" actId="20577"/>
      <pc:docMkLst>
        <pc:docMk/>
      </pc:docMkLst>
      <pc:sldChg chg="modSp add mod">
        <pc:chgData name="Lusarda, Nada Rizqiana" userId="8c04d34e-9362-4c99-a544-2d7331fa0cbb" providerId="ADAL" clId="{2A39E97C-B54E-4C97-BA53-AAFB293C1805}" dt="2022-03-02T03:52:02.480" v="66" actId="20577"/>
        <pc:sldMkLst>
          <pc:docMk/>
          <pc:sldMk cId="3849905919" sldId="256"/>
        </pc:sldMkLst>
        <pc:spChg chg="mod">
          <ac:chgData name="Lusarda, Nada Rizqiana" userId="8c04d34e-9362-4c99-a544-2d7331fa0cbb" providerId="ADAL" clId="{2A39E97C-B54E-4C97-BA53-AAFB293C1805}" dt="2022-03-02T03:52:02.480" v="66" actId="20577"/>
          <ac:spMkLst>
            <pc:docMk/>
            <pc:sldMk cId="3849905919" sldId="256"/>
            <ac:spMk id="5" creationId="{DC88BBE0-6D3A-422A-B481-24F7A10E947E}"/>
          </ac:spMkLst>
        </pc:spChg>
        <pc:spChg chg="mod">
          <ac:chgData name="Lusarda, Nada Rizqiana" userId="8c04d34e-9362-4c99-a544-2d7331fa0cbb" providerId="ADAL" clId="{2A39E97C-B54E-4C97-BA53-AAFB293C1805}" dt="2022-03-02T03:51:43.789" v="54" actId="20577"/>
          <ac:spMkLst>
            <pc:docMk/>
            <pc:sldMk cId="3849905919" sldId="256"/>
            <ac:spMk id="9" creationId="{A2157380-DE3C-41F7-BE9F-F6599619179C}"/>
          </ac:spMkLst>
        </pc:spChg>
        <pc:picChg chg="mod">
          <ac:chgData name="Lusarda, Nada Rizqiana" userId="8c04d34e-9362-4c99-a544-2d7331fa0cbb" providerId="ADAL" clId="{2A39E97C-B54E-4C97-BA53-AAFB293C1805}" dt="2022-03-02T03:51:33.021" v="38" actId="1076"/>
          <ac:picMkLst>
            <pc:docMk/>
            <pc:sldMk cId="3849905919" sldId="256"/>
            <ac:picMk id="8" creationId="{A8A85776-4B7E-4CBE-A947-045672BEEEB1}"/>
          </ac:picMkLst>
        </pc:picChg>
      </pc:sldChg>
      <pc:sldChg chg="add">
        <pc:chgData name="Lusarda, Nada Rizqiana" userId="8c04d34e-9362-4c99-a544-2d7331fa0cbb" providerId="ADAL" clId="{2A39E97C-B54E-4C97-BA53-AAFB293C1805}" dt="2022-03-02T03:53:53.704" v="68"/>
        <pc:sldMkLst>
          <pc:docMk/>
          <pc:sldMk cId="3175843782" sldId="301"/>
        </pc:sldMkLst>
      </pc:sldChg>
      <pc:sldChg chg="add">
        <pc:chgData name="Lusarda, Nada Rizqiana" userId="8c04d34e-9362-4c99-a544-2d7331fa0cbb" providerId="ADAL" clId="{2A39E97C-B54E-4C97-BA53-AAFB293C1805}" dt="2022-03-02T03:50:35.212" v="0"/>
        <pc:sldMkLst>
          <pc:docMk/>
          <pc:sldMk cId="2849996657" sldId="310"/>
        </pc:sldMkLst>
      </pc:sldChg>
      <pc:sldChg chg="del">
        <pc:chgData name="Lusarda, Nada Rizqiana" userId="8c04d34e-9362-4c99-a544-2d7331fa0cbb" providerId="ADAL" clId="{2A39E97C-B54E-4C97-BA53-AAFB293C1805}" dt="2022-03-02T03:57:08.189" v="80" actId="47"/>
        <pc:sldMkLst>
          <pc:docMk/>
          <pc:sldMk cId="1019583079" sldId="341"/>
        </pc:sldMkLst>
      </pc:sldChg>
      <pc:sldChg chg="add">
        <pc:chgData name="Lusarda, Nada Rizqiana" userId="8c04d34e-9362-4c99-a544-2d7331fa0cbb" providerId="ADAL" clId="{2A39E97C-B54E-4C97-BA53-AAFB293C1805}" dt="2022-03-02T03:53:14.393" v="67"/>
        <pc:sldMkLst>
          <pc:docMk/>
          <pc:sldMk cId="3307139274" sldId="436"/>
        </pc:sldMkLst>
      </pc:sldChg>
      <pc:sldChg chg="add del">
        <pc:chgData name="Lusarda, Nada Rizqiana" userId="8c04d34e-9362-4c99-a544-2d7331fa0cbb" providerId="ADAL" clId="{2A39E97C-B54E-4C97-BA53-AAFB293C1805}" dt="2022-03-02T03:56:50.004" v="79" actId="47"/>
        <pc:sldMkLst>
          <pc:docMk/>
          <pc:sldMk cId="3313190400" sldId="2146846350"/>
        </pc:sldMkLst>
      </pc:sldChg>
      <pc:sldChg chg="add">
        <pc:chgData name="Lusarda, Nada Rizqiana" userId="8c04d34e-9362-4c99-a544-2d7331fa0cbb" providerId="ADAL" clId="{2A39E97C-B54E-4C97-BA53-AAFB293C1805}" dt="2022-03-02T03:56:12.238" v="70"/>
        <pc:sldMkLst>
          <pc:docMk/>
          <pc:sldMk cId="1917080401" sldId="2146849402"/>
        </pc:sldMkLst>
      </pc:sldChg>
      <pc:sldChg chg="add">
        <pc:chgData name="Lusarda, Nada Rizqiana" userId="8c04d34e-9362-4c99-a544-2d7331fa0cbb" providerId="ADAL" clId="{2A39E97C-B54E-4C97-BA53-AAFB293C1805}" dt="2022-03-02T03:56:12.238" v="70"/>
        <pc:sldMkLst>
          <pc:docMk/>
          <pc:sldMk cId="814827615" sldId="2146849403"/>
        </pc:sldMkLst>
      </pc:sldChg>
      <pc:sldChg chg="modSp add mod">
        <pc:chgData name="Lusarda, Nada Rizqiana" userId="8c04d34e-9362-4c99-a544-2d7331fa0cbb" providerId="ADAL" clId="{2A39E97C-B54E-4C97-BA53-AAFB293C1805}" dt="2022-03-02T04:00:13.142" v="171" actId="20577"/>
        <pc:sldMkLst>
          <pc:docMk/>
          <pc:sldMk cId="1913059421" sldId="2146849406"/>
        </pc:sldMkLst>
        <pc:spChg chg="mod">
          <ac:chgData name="Lusarda, Nada Rizqiana" userId="8c04d34e-9362-4c99-a544-2d7331fa0cbb" providerId="ADAL" clId="{2A39E97C-B54E-4C97-BA53-AAFB293C1805}" dt="2022-03-02T03:59:37.034" v="105" actId="20577"/>
          <ac:spMkLst>
            <pc:docMk/>
            <pc:sldMk cId="1913059421" sldId="2146849406"/>
            <ac:spMk id="5" creationId="{8AC8C36E-4DF0-4141-B6C1-21E427F99AC8}"/>
          </ac:spMkLst>
        </pc:spChg>
        <pc:spChg chg="mod">
          <ac:chgData name="Lusarda, Nada Rizqiana" userId="8c04d34e-9362-4c99-a544-2d7331fa0cbb" providerId="ADAL" clId="{2A39E97C-B54E-4C97-BA53-AAFB293C1805}" dt="2022-03-02T04:00:13.142" v="171" actId="20577"/>
          <ac:spMkLst>
            <pc:docMk/>
            <pc:sldMk cId="1913059421" sldId="2146849406"/>
            <ac:spMk id="7" creationId="{35EFCD38-4F43-4FB3-B69A-9E996ACE3141}"/>
          </ac:spMkLst>
        </pc:spChg>
        <pc:spChg chg="mod">
          <ac:chgData name="Lusarda, Nada Rizqiana" userId="8c04d34e-9362-4c99-a544-2d7331fa0cbb" providerId="ADAL" clId="{2A39E97C-B54E-4C97-BA53-AAFB293C1805}" dt="2022-03-02T03:56:36.565" v="78" actId="20577"/>
          <ac:spMkLst>
            <pc:docMk/>
            <pc:sldMk cId="1913059421" sldId="2146849406"/>
            <ac:spMk id="8" creationId="{19FBFF34-4BA5-4053-97B2-C9E6D48F2CD3}"/>
          </ac:spMkLst>
        </pc:spChg>
      </pc:sldChg>
      <pc:sldChg chg="add mod modShow">
        <pc:chgData name="Lusarda, Nada Rizqiana" userId="8c04d34e-9362-4c99-a544-2d7331fa0cbb" providerId="ADAL" clId="{2A39E97C-B54E-4C97-BA53-AAFB293C1805}" dt="2022-03-02T03:58:42.390" v="82" actId="729"/>
        <pc:sldMkLst>
          <pc:docMk/>
          <pc:sldMk cId="3992786455" sldId="2146849407"/>
        </pc:sldMkLst>
      </pc:sldChg>
      <pc:sldChg chg="add mod modShow">
        <pc:chgData name="Lusarda, Nada Rizqiana" userId="8c04d34e-9362-4c99-a544-2d7331fa0cbb" providerId="ADAL" clId="{2A39E97C-B54E-4C97-BA53-AAFB293C1805}" dt="2022-03-02T03:58:42.390" v="82" actId="729"/>
        <pc:sldMkLst>
          <pc:docMk/>
          <pc:sldMk cId="1822588797" sldId="2146849408"/>
        </pc:sldMkLst>
      </pc:sldChg>
      <pc:sldChg chg="add mod modShow">
        <pc:chgData name="Lusarda, Nada Rizqiana" userId="8c04d34e-9362-4c99-a544-2d7331fa0cbb" providerId="ADAL" clId="{2A39E97C-B54E-4C97-BA53-AAFB293C1805}" dt="2022-03-02T03:58:42.390" v="82" actId="729"/>
        <pc:sldMkLst>
          <pc:docMk/>
          <pc:sldMk cId="375710606" sldId="2146849409"/>
        </pc:sldMkLst>
      </pc:sldChg>
      <pc:sldChg chg="add mod modShow">
        <pc:chgData name="Lusarda, Nada Rizqiana" userId="8c04d34e-9362-4c99-a544-2d7331fa0cbb" providerId="ADAL" clId="{2A39E97C-B54E-4C97-BA53-AAFB293C1805}" dt="2022-03-02T03:58:42.390" v="82" actId="729"/>
        <pc:sldMkLst>
          <pc:docMk/>
          <pc:sldMk cId="1350469988" sldId="2146849410"/>
        </pc:sldMkLst>
      </pc:sldChg>
      <pc:sldChg chg="add mod modShow">
        <pc:chgData name="Lusarda, Nada Rizqiana" userId="8c04d34e-9362-4c99-a544-2d7331fa0cbb" providerId="ADAL" clId="{2A39E97C-B54E-4C97-BA53-AAFB293C1805}" dt="2022-03-02T03:58:42.390" v="82" actId="729"/>
        <pc:sldMkLst>
          <pc:docMk/>
          <pc:sldMk cId="1606275525" sldId="2146849411"/>
        </pc:sldMkLst>
      </pc:sldChg>
    </pc:docChg>
  </pc:docChgLst>
  <pc:docChgLst>
    <pc:chgData name="Lusarda, Nada Rizqiana" userId="8c04d34e-9362-4c99-a544-2d7331fa0cbb" providerId="ADAL" clId="{617BCCB4-595A-41B8-8332-4FD1F68DA3C8}"/>
    <pc:docChg chg="addSld modSld">
      <pc:chgData name="Lusarda, Nada Rizqiana" userId="8c04d34e-9362-4c99-a544-2d7331fa0cbb" providerId="ADAL" clId="{617BCCB4-595A-41B8-8332-4FD1F68DA3C8}" dt="2022-05-23T10:52:43.247" v="0"/>
      <pc:docMkLst>
        <pc:docMk/>
      </pc:docMkLst>
      <pc:sldChg chg="add setBg">
        <pc:chgData name="Lusarda, Nada Rizqiana" userId="8c04d34e-9362-4c99-a544-2d7331fa0cbb" providerId="ADAL" clId="{617BCCB4-595A-41B8-8332-4FD1F68DA3C8}" dt="2022-05-23T10:52:43.247" v="0"/>
        <pc:sldMkLst>
          <pc:docMk/>
          <pc:sldMk cId="2981025323" sldId="2147375039"/>
        </pc:sldMkLst>
      </pc:sldChg>
    </pc:docChg>
  </pc:docChgLst>
  <pc:docChgLst>
    <pc:chgData name="Lusarda, Nada Rizqiana" userId="S::nada.r.lusarda@accenture.com::8c04d34e-9362-4c99-a544-2d7331fa0cbb" providerId="AD" clId="Web-{B82BF873-1815-C155-5842-BB7429DA0498}"/>
    <pc:docChg chg="modSld">
      <pc:chgData name="Lusarda, Nada Rizqiana" userId="S::nada.r.lusarda@accenture.com::8c04d34e-9362-4c99-a544-2d7331fa0cbb" providerId="AD" clId="Web-{B82BF873-1815-C155-5842-BB7429DA0498}" dt="2022-05-23T10:52:05.152" v="12"/>
      <pc:docMkLst>
        <pc:docMk/>
      </pc:docMkLst>
      <pc:sldChg chg="addSp delSp modSp">
        <pc:chgData name="Lusarda, Nada Rizqiana" userId="S::nada.r.lusarda@accenture.com::8c04d34e-9362-4c99-a544-2d7331fa0cbb" providerId="AD" clId="Web-{B82BF873-1815-C155-5842-BB7429DA0498}" dt="2022-05-23T10:52:05.152" v="12"/>
        <pc:sldMkLst>
          <pc:docMk/>
          <pc:sldMk cId="3267253309" sldId="386"/>
        </pc:sldMkLst>
        <pc:spChg chg="add del">
          <ac:chgData name="Lusarda, Nada Rizqiana" userId="S::nada.r.lusarda@accenture.com::8c04d34e-9362-4c99-a544-2d7331fa0cbb" providerId="AD" clId="Web-{B82BF873-1815-C155-5842-BB7429DA0498}" dt="2022-05-23T10:52:05.152" v="12"/>
          <ac:spMkLst>
            <pc:docMk/>
            <pc:sldMk cId="3267253309" sldId="386"/>
            <ac:spMk id="3" creationId="{2468C5EC-397E-4FF7-B71B-E534E0B1EB42}"/>
          </ac:spMkLst>
        </pc:spChg>
        <pc:picChg chg="add del mod ord modCrop">
          <ac:chgData name="Lusarda, Nada Rizqiana" userId="S::nada.r.lusarda@accenture.com::8c04d34e-9362-4c99-a544-2d7331fa0cbb" providerId="AD" clId="Web-{B82BF873-1815-C155-5842-BB7429DA0498}" dt="2022-05-23T10:52:05.152" v="12"/>
          <ac:picMkLst>
            <pc:docMk/>
            <pc:sldMk cId="3267253309" sldId="386"/>
            <ac:picMk id="2" creationId="{8D623652-0DB9-531F-5091-5566C7C9D77F}"/>
          </ac:picMkLst>
        </pc:picChg>
      </pc:sldChg>
      <pc:sldChg chg="modSp">
        <pc:chgData name="Lusarda, Nada Rizqiana" userId="S::nada.r.lusarda@accenture.com::8c04d34e-9362-4c99-a544-2d7331fa0cbb" providerId="AD" clId="Web-{B82BF873-1815-C155-5842-BB7429DA0498}" dt="2022-05-23T10:50:35.839" v="10" actId="20577"/>
        <pc:sldMkLst>
          <pc:docMk/>
          <pc:sldMk cId="3307139274" sldId="436"/>
        </pc:sldMkLst>
        <pc:spChg chg="mod">
          <ac:chgData name="Lusarda, Nada Rizqiana" userId="S::nada.r.lusarda@accenture.com::8c04d34e-9362-4c99-a544-2d7331fa0cbb" providerId="AD" clId="Web-{B82BF873-1815-C155-5842-BB7429DA0498}" dt="2022-05-23T10:50:35.839" v="10" actId="20577"/>
          <ac:spMkLst>
            <pc:docMk/>
            <pc:sldMk cId="3307139274" sldId="436"/>
            <ac:spMk id="3" creationId="{143B2EF5-A511-49D1-90A8-ACE6783E9BA0}"/>
          </ac:spMkLst>
        </pc:spChg>
      </pc:sldChg>
    </pc:docChg>
  </pc:docChgLst>
  <pc:docChgLst>
    <pc:chgData name="Lusarda, Nada Rizqiana" userId="8c04d34e-9362-4c99-a544-2d7331fa0cbb" providerId="ADAL" clId="{557D8C21-E537-4965-9421-2FF638391620}"/>
    <pc:docChg chg="delSld">
      <pc:chgData name="Lusarda, Nada Rizqiana" userId="8c04d34e-9362-4c99-a544-2d7331fa0cbb" providerId="ADAL" clId="{557D8C21-E537-4965-9421-2FF638391620}" dt="2022-03-02T06:20:52.496" v="0" actId="47"/>
      <pc:docMkLst>
        <pc:docMk/>
      </pc:docMkLst>
      <pc:sldChg chg="del">
        <pc:chgData name="Lusarda, Nada Rizqiana" userId="8c04d34e-9362-4c99-a544-2d7331fa0cbb" providerId="ADAL" clId="{557D8C21-E537-4965-9421-2FF638391620}" dt="2022-03-02T06:20:52.496" v="0" actId="47"/>
        <pc:sldMkLst>
          <pc:docMk/>
          <pc:sldMk cId="3175843782" sldId="301"/>
        </pc:sldMkLst>
      </pc:sldChg>
      <pc:sldMasterChg chg="delSldLayout">
        <pc:chgData name="Lusarda, Nada Rizqiana" userId="8c04d34e-9362-4c99-a544-2d7331fa0cbb" providerId="ADAL" clId="{557D8C21-E537-4965-9421-2FF638391620}" dt="2022-03-02T06:20:52.496" v="0" actId="47"/>
        <pc:sldMasterMkLst>
          <pc:docMk/>
          <pc:sldMasterMk cId="436129922" sldId="2147483660"/>
        </pc:sldMasterMkLst>
        <pc:sldLayoutChg chg="del">
          <pc:chgData name="Lusarda, Nada Rizqiana" userId="8c04d34e-9362-4c99-a544-2d7331fa0cbb" providerId="ADAL" clId="{557D8C21-E537-4965-9421-2FF638391620}" dt="2022-03-02T06:20:52.496" v="0" actId="47"/>
          <pc:sldLayoutMkLst>
            <pc:docMk/>
            <pc:sldMasterMk cId="436129922" sldId="2147483660"/>
            <pc:sldLayoutMk cId="3964270432" sldId="214748381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Examples</a:t>
            </a:r>
            <a:endParaRPr lang="en-ID"/>
          </a:p>
        </c:rich>
      </c:tx>
      <c:layout>
        <c:manualLayout>
          <c:xMode val="edge"/>
          <c:yMode val="edge"/>
          <c:x val="1.1117891513560785E-2"/>
          <c:y val="3.47222222222222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C2E-4901-A633-B86C71EC967D}"/>
            </c:ext>
          </c:extLst>
        </c:ser>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DC2E-4901-A633-B86C71EC967D}"/>
            </c:ext>
          </c:extLst>
        </c:ser>
        <c:dLbls>
          <c:showLegendKey val="0"/>
          <c:showVal val="1"/>
          <c:showCatName val="0"/>
          <c:showSerName val="0"/>
          <c:showPercent val="0"/>
          <c:showBubbleSize val="0"/>
        </c:dLbls>
        <c:marker val="1"/>
        <c:smooth val="0"/>
        <c:axId val="2077465759"/>
        <c:axId val="2077455775"/>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legend>
      <c:legendPos val="t"/>
      <c:layout>
        <c:manualLayout>
          <c:xMode val="edge"/>
          <c:yMode val="edge"/>
          <c:x val="0.63206649168853879"/>
          <c:y val="3.5503665490089605E-2"/>
          <c:w val="0.26055074365704289"/>
          <c:h val="0.193966874830301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Examples</a:t>
            </a:r>
            <a:endParaRPr lang="en-ID"/>
          </a:p>
        </c:rich>
      </c:tx>
      <c:layout>
        <c:manualLayout>
          <c:xMode val="edge"/>
          <c:yMode val="edge"/>
          <c:x val="1.1117891513560785E-2"/>
          <c:y val="3.47222222222222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C2E-4901-A633-B86C71EC967D}"/>
            </c:ext>
          </c:extLst>
        </c:ser>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DC2E-4901-A633-B86C71EC967D}"/>
            </c:ext>
          </c:extLst>
        </c:ser>
        <c:dLbls>
          <c:showLegendKey val="0"/>
          <c:showVal val="1"/>
          <c:showCatName val="0"/>
          <c:showSerName val="0"/>
          <c:showPercent val="0"/>
          <c:showBubbleSize val="0"/>
        </c:dLbls>
        <c:marker val="1"/>
        <c:smooth val="0"/>
        <c:axId val="2077465759"/>
        <c:axId val="2077455775"/>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legend>
      <c:legendPos val="t"/>
      <c:layout>
        <c:manualLayout>
          <c:xMode val="edge"/>
          <c:yMode val="edge"/>
          <c:x val="0.63206649168853879"/>
          <c:y val="3.5503665490089605E-2"/>
          <c:w val="0.26055074365704289"/>
          <c:h val="0.193966874830301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Examples</a:t>
            </a:r>
            <a:endParaRPr lang="en-ID"/>
          </a:p>
        </c:rich>
      </c:tx>
      <c:layout>
        <c:manualLayout>
          <c:xMode val="edge"/>
          <c:yMode val="edge"/>
          <c:x val="1.1117891513560785E-2"/>
          <c:y val="3.47222222222222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C2E-4901-A633-B86C71EC967D}"/>
            </c:ext>
          </c:extLst>
        </c:ser>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DC2E-4901-A633-B86C71EC967D}"/>
            </c:ext>
          </c:extLst>
        </c:ser>
        <c:dLbls>
          <c:showLegendKey val="0"/>
          <c:showVal val="1"/>
          <c:showCatName val="0"/>
          <c:showSerName val="0"/>
          <c:showPercent val="0"/>
          <c:showBubbleSize val="0"/>
        </c:dLbls>
        <c:marker val="1"/>
        <c:smooth val="0"/>
        <c:axId val="2077465759"/>
        <c:axId val="2077455775"/>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legend>
      <c:legendPos val="t"/>
      <c:layout>
        <c:manualLayout>
          <c:xMode val="edge"/>
          <c:yMode val="edge"/>
          <c:x val="0.63206649168853879"/>
          <c:y val="3.5503665490089605E-2"/>
          <c:w val="0.26055074365704289"/>
          <c:h val="0.193966874830301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Examples</a:t>
            </a:r>
            <a:endParaRPr lang="en-ID"/>
          </a:p>
        </c:rich>
      </c:tx>
      <c:layout>
        <c:manualLayout>
          <c:xMode val="edge"/>
          <c:yMode val="edge"/>
          <c:x val="1.1117891513560785E-2"/>
          <c:y val="3.47222222222222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C2E-4901-A633-B86C71EC967D}"/>
            </c:ext>
          </c:extLst>
        </c:ser>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DC2E-4901-A633-B86C71EC967D}"/>
            </c:ext>
          </c:extLst>
        </c:ser>
        <c:dLbls>
          <c:showLegendKey val="0"/>
          <c:showVal val="1"/>
          <c:showCatName val="0"/>
          <c:showSerName val="0"/>
          <c:showPercent val="0"/>
          <c:showBubbleSize val="0"/>
        </c:dLbls>
        <c:marker val="1"/>
        <c:smooth val="0"/>
        <c:axId val="2077465759"/>
        <c:axId val="2077455775"/>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legend>
      <c:legendPos val="t"/>
      <c:layout>
        <c:manualLayout>
          <c:xMode val="edge"/>
          <c:yMode val="edge"/>
          <c:x val="0.63206649168853879"/>
          <c:y val="3.5503665490089605E-2"/>
          <c:w val="0.26055074365704289"/>
          <c:h val="0.193966874830301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Examples</a:t>
            </a:r>
            <a:endParaRPr lang="en-ID"/>
          </a:p>
        </c:rich>
      </c:tx>
      <c:layout>
        <c:manualLayout>
          <c:xMode val="edge"/>
          <c:yMode val="edge"/>
          <c:x val="1.1117891513560785E-2"/>
          <c:y val="3.47222222222222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C2E-4901-A633-B86C71EC967D}"/>
            </c:ext>
          </c:extLst>
        </c:ser>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DC2E-4901-A633-B86C71EC967D}"/>
            </c:ext>
          </c:extLst>
        </c:ser>
        <c:dLbls>
          <c:showLegendKey val="0"/>
          <c:showVal val="1"/>
          <c:showCatName val="0"/>
          <c:showSerName val="0"/>
          <c:showPercent val="0"/>
          <c:showBubbleSize val="0"/>
        </c:dLbls>
        <c:marker val="1"/>
        <c:smooth val="0"/>
        <c:axId val="2077465759"/>
        <c:axId val="2077455775"/>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legend>
      <c:legendPos val="t"/>
      <c:layout>
        <c:manualLayout>
          <c:xMode val="edge"/>
          <c:yMode val="edge"/>
          <c:x val="0.63206649168853879"/>
          <c:y val="3.5503665490089605E-2"/>
          <c:w val="0.26055074365704289"/>
          <c:h val="0.193966874830301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X</a:t>
            </a:r>
            <a:endParaRPr lang="en-ID"/>
          </a:p>
        </c:rich>
      </c:tx>
      <c:layout>
        <c:manualLayout>
          <c:xMode val="edge"/>
          <c:yMode val="edge"/>
          <c:x val="0.87046325285509241"/>
          <c:y val="1.619551712987388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4:$U$4</c:f>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7C42-4AC6-A9FC-028CA5AE008B}"/>
            </c:ext>
          </c:extLst>
        </c:ser>
        <c:dLbls>
          <c:showLegendKey val="0"/>
          <c:showVal val="1"/>
          <c:showCatName val="0"/>
          <c:showSerName val="0"/>
          <c:showPercent val="0"/>
          <c:showBubbleSize val="0"/>
        </c:dLbls>
        <c:marker val="1"/>
        <c:smooth val="0"/>
        <c:axId val="2077465759"/>
        <c:axId val="2077455775"/>
        <c:extLst>
          <c:ext xmlns:c15="http://schemas.microsoft.com/office/drawing/2012/chart" uri="{02D57815-91ED-43cb-92C2-25804820EDAC}">
            <c15:filteredLineSeries>
              <c15: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c:ext uri="{02D57815-91ED-43cb-92C2-25804820EDAC}">
                        <c15:formulaRef>
                          <c15:sqref>Sheet1!$O$5:$U$5</c15:sqref>
                        </c15:formulaRef>
                      </c:ext>
                    </c:extLst>
                    <c:numCache>
                      <c:formatCode>General</c:formatCode>
                      <c:ptCount val="7"/>
                      <c:pt idx="0">
                        <c:v>0</c:v>
                      </c:pt>
                      <c:pt idx="1">
                        <c:v>0</c:v>
                      </c:pt>
                      <c:pt idx="2">
                        <c:v>0.5</c:v>
                      </c:pt>
                      <c:pt idx="3">
                        <c:v>2</c:v>
                      </c:pt>
                      <c:pt idx="4">
                        <c:v>0</c:v>
                      </c:pt>
                      <c:pt idx="5">
                        <c:v>1</c:v>
                      </c:pt>
                      <c:pt idx="6">
                        <c:v>0</c:v>
                      </c:pt>
                    </c:numCache>
                  </c:numRef>
                </c:val>
                <c:smooth val="0"/>
                <c:extLst>
                  <c:ext xmlns:c16="http://schemas.microsoft.com/office/drawing/2014/chart" uri="{C3380CC4-5D6E-409C-BE32-E72D297353CC}">
                    <c16:uniqueId val="{00000001-7C42-4AC6-A9FC-028CA5AE008B}"/>
                  </c:ext>
                </c:extLst>
              </c15:ser>
            </c15:filteredLineSeries>
          </c:ext>
        </c:extLst>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A101FF"/>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D"/>
              <a:t>Time</a:t>
            </a:r>
            <a:r>
              <a:rPr lang="en-ID" baseline="0"/>
              <a:t> Series Y</a:t>
            </a:r>
            <a:endParaRPr lang="en-ID"/>
          </a:p>
        </c:rich>
      </c:tx>
      <c:layout>
        <c:manualLayout>
          <c:xMode val="edge"/>
          <c:yMode val="edge"/>
          <c:x val="0.87289231122432864"/>
          <c:y val="2.237107311226139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0555555555555555E-2"/>
          <c:y val="0.25143331692913384"/>
          <c:w val="0.93888888888888888"/>
          <c:h val="0.653080571959755"/>
        </c:manualLayout>
      </c:layout>
      <c:lineChart>
        <c:grouping val="standard"/>
        <c:varyColors val="0"/>
        <c:ser>
          <c:idx val="1"/>
          <c:order val="1"/>
          <c:tx>
            <c:v>TS Y</c:v>
          </c:tx>
          <c:spPr>
            <a:ln w="28575" cap="rnd">
              <a:solidFill>
                <a:schemeClr val="accent5">
                  <a:tint val="77000"/>
                </a:schemeClr>
              </a:solidFill>
              <a:round/>
            </a:ln>
            <a:effectLst/>
          </c:spPr>
          <c:marker>
            <c:symbol val="circle"/>
            <c:size val="5"/>
            <c:spPr>
              <a:solidFill>
                <a:schemeClr val="accent5">
                  <a:tint val="77000"/>
                </a:schemeClr>
              </a:solidFill>
              <a:ln w="9525">
                <a:solidFill>
                  <a:schemeClr val="accent5">
                    <a:tint val="77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5:$U$5</c:f>
              <c:numCache>
                <c:formatCode>General</c:formatCode>
                <c:ptCount val="7"/>
                <c:pt idx="0">
                  <c:v>0</c:v>
                </c:pt>
                <c:pt idx="1">
                  <c:v>0</c:v>
                </c:pt>
                <c:pt idx="2">
                  <c:v>0.5</c:v>
                </c:pt>
                <c:pt idx="3">
                  <c:v>2</c:v>
                </c:pt>
                <c:pt idx="4">
                  <c:v>0</c:v>
                </c:pt>
                <c:pt idx="5">
                  <c:v>1</c:v>
                </c:pt>
                <c:pt idx="6">
                  <c:v>0</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1-D924-42C1-A7B3-D1942EE0DB8B}"/>
            </c:ext>
          </c:extLst>
        </c:ser>
        <c:dLbls>
          <c:showLegendKey val="0"/>
          <c:showVal val="1"/>
          <c:showCatName val="0"/>
          <c:showSerName val="0"/>
          <c:showPercent val="0"/>
          <c:showBubbleSize val="0"/>
        </c:dLbls>
        <c:marker val="1"/>
        <c:smooth val="0"/>
        <c:axId val="2077465759"/>
        <c:axId val="2077455775"/>
        <c:extLst>
          <c:ext xmlns:c15="http://schemas.microsoft.com/office/drawing/2012/chart" uri="{02D57815-91ED-43cb-92C2-25804820EDAC}">
            <c15:filteredLineSeries>
              <c15:ser>
                <c:idx val="0"/>
                <c:order val="0"/>
                <c:tx>
                  <c:v>TS X</c:v>
                </c:tx>
                <c:spPr>
                  <a:ln w="28575" cap="rnd">
                    <a:solidFill>
                      <a:schemeClr val="accent2">
                        <a:lumMod val="60000"/>
                        <a:lumOff val="40000"/>
                      </a:schemeClr>
                    </a:solidFill>
                    <a:round/>
                  </a:ln>
                  <a:effectLst/>
                </c:spPr>
                <c:marker>
                  <c:symbol val="circle"/>
                  <c:size val="5"/>
                  <c:spPr>
                    <a:solidFill>
                      <a:schemeClr val="accent5">
                        <a:shade val="76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c:ext uri="{02D57815-91ED-43cb-92C2-25804820EDAC}">
                        <c15:formulaRef>
                          <c15:sqref>Sheet1!$O$4:$U$4</c15:sqref>
                        </c15:formulaRef>
                      </c:ext>
                    </c:extLst>
                    <c:numCache>
                      <c:formatCode>General</c:formatCode>
                      <c:ptCount val="7"/>
                      <c:pt idx="0">
                        <c:v>0</c:v>
                      </c:pt>
                      <c:pt idx="1">
                        <c:v>2</c:v>
                      </c:pt>
                      <c:pt idx="2">
                        <c:v>0</c:v>
                      </c:pt>
                      <c:pt idx="3">
                        <c:v>1</c:v>
                      </c:pt>
                      <c:pt idx="4">
                        <c:v>0</c:v>
                      </c:pt>
                      <c:pt idx="5">
                        <c:v>0</c:v>
                      </c:pt>
                    </c:numCache>
                  </c:numRef>
                </c:val>
                <c:smooth val="0"/>
                <c:extLst>
                  <c:ext xmlns:c16="http://schemas.microsoft.com/office/drawing/2014/chart" uri="{C3380CC4-5D6E-409C-BE32-E72D297353CC}">
                    <c16:uniqueId val="{00000000-D924-42C1-A7B3-D1942EE0DB8B}"/>
                  </c:ext>
                </c:extLst>
              </c15:ser>
            </c15:filteredLineSeries>
          </c:ext>
        </c:extLst>
      </c:lineChart>
      <c:catAx>
        <c:axId val="2077465759"/>
        <c:scaling>
          <c:orientation val="minMax"/>
        </c:scaling>
        <c:delete val="1"/>
        <c:axPos val="b"/>
        <c:numFmt formatCode="General" sourceLinked="1"/>
        <c:majorTickMark val="none"/>
        <c:minorTickMark val="none"/>
        <c:tickLblPos val="nextTo"/>
        <c:crossAx val="2077455775"/>
        <c:crosses val="autoZero"/>
        <c:auto val="1"/>
        <c:lblAlgn val="ctr"/>
        <c:lblOffset val="100"/>
        <c:noMultiLvlLbl val="0"/>
      </c:catAx>
      <c:valAx>
        <c:axId val="2077455775"/>
        <c:scaling>
          <c:orientation val="minMax"/>
        </c:scaling>
        <c:delete val="1"/>
        <c:axPos val="l"/>
        <c:numFmt formatCode="General" sourceLinked="1"/>
        <c:majorTickMark val="none"/>
        <c:minorTickMark val="none"/>
        <c:tickLblPos val="nextTo"/>
        <c:crossAx val="2077465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A101FF"/>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E2D13E-7D2B-4E8C-AFCD-18053CF93AA3}" type="datetimeFigureOut">
              <a:rPr lang="en-US" smtClean="0"/>
              <a:t>5/2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873477-7807-4F49-BD4E-6414B4F2747D}" type="slidenum">
              <a:rPr lang="en-US" smtClean="0"/>
              <a:t>‹#›</a:t>
            </a:fld>
            <a:endParaRPr lang="en-US"/>
          </a:p>
        </p:txBody>
      </p:sp>
    </p:spTree>
    <p:extLst>
      <p:ext uri="{BB962C8B-B14F-4D97-AF65-F5344CB8AC3E}">
        <p14:creationId xmlns:p14="http://schemas.microsoft.com/office/powerpoint/2010/main" val="1774157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Ensure the titles</a:t>
            </a:r>
            <a:r>
              <a:rPr lang="en-US" baseline="0"/>
              <a:t> are not duplicated. Please check the set of best practice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E8A87-18DA-4CCE-A8C2-BDBC489258C6}" type="slidenum">
              <a:rPr kumimoji="0" lang="en-US" sz="800" b="0" i="0" u="none" strike="noStrike" kern="1200" cap="none" spc="0" normalizeH="0" baseline="0" noProof="0" smtClean="0">
                <a:ln>
                  <a:noFill/>
                </a:ln>
                <a:solidFill>
                  <a:srgbClr val="9696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96968C"/>
              </a:solidFill>
              <a:effectLst/>
              <a:uLnTx/>
              <a:uFillTx/>
              <a:latin typeface="Arial"/>
              <a:ea typeface="+mn-ea"/>
              <a:cs typeface="+mn-cs"/>
            </a:endParaRPr>
          </a:p>
        </p:txBody>
      </p:sp>
    </p:spTree>
    <p:extLst>
      <p:ext uri="{BB962C8B-B14F-4D97-AF65-F5344CB8AC3E}">
        <p14:creationId xmlns:p14="http://schemas.microsoft.com/office/powerpoint/2010/main" val="2065592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mailto:Amy.Ritz@Accenture.com" TargetMode="External"/><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4.emf"/></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29.jpeg"/><Relationship Id="rId5" Type="http://schemas.openxmlformats.org/officeDocument/2006/relationships/image" Target="../media/image28.jpe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06927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753370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Master: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38276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tx">
  <p:cSld name="1_Title and Content - Light">
    <p:spTree>
      <p:nvGrpSpPr>
        <p:cNvPr id="1" name=""/>
        <p:cNvGrpSpPr/>
        <p:nvPr/>
      </p:nvGrpSpPr>
      <p:grpSpPr>
        <a:xfrm>
          <a:off x="0" y="0"/>
          <a:ext cx="0" cy="0"/>
          <a:chOff x="0" y="0"/>
          <a:chExt cx="0" cy="0"/>
        </a:xfrm>
      </p:grpSpPr>
      <p:sp>
        <p:nvSpPr>
          <p:cNvPr id="92" name="Place headline here (36pt, min 30pt)"/>
          <p:cNvSpPr txBox="1">
            <a:spLocks noGrp="1"/>
          </p:cNvSpPr>
          <p:nvPr>
            <p:ph type="title" hasCustomPrompt="1"/>
          </p:nvPr>
        </p:nvSpPr>
        <p:spPr>
          <a:xfrm>
            <a:off x="381000" y="381000"/>
            <a:ext cx="11430000" cy="990600"/>
          </a:xfrm>
          <a:prstGeom prst="rect">
            <a:avLst/>
          </a:prstGeom>
        </p:spPr>
        <p:txBody>
          <a:bodyPr/>
          <a:lstStyle>
            <a:lvl1pPr>
              <a:defRPr sz="3600"/>
            </a:lvl1pPr>
          </a:lstStyle>
          <a:p>
            <a:r>
              <a:t>Place headline here (36pt, min 30pt)</a:t>
            </a:r>
          </a:p>
        </p:txBody>
      </p:sp>
      <p:sp>
        <p:nvSpPr>
          <p:cNvPr id="93" name="Body Level One…"/>
          <p:cNvSpPr txBox="1">
            <a:spLocks noGrp="1"/>
          </p:cNvSpPr>
          <p:nvPr>
            <p:ph type="body" idx="1" hasCustomPrompt="1"/>
          </p:nvPr>
        </p:nvSpPr>
        <p:spPr>
          <a:xfrm>
            <a:off x="381000" y="1371600"/>
            <a:ext cx="11430001" cy="4940301"/>
          </a:xfrm>
          <a:prstGeom prst="rect">
            <a:avLst/>
          </a:prstGeom>
        </p:spPr>
        <p:txBody>
          <a:bodyPr/>
          <a:lstStyle/>
          <a:p>
            <a:r>
              <a:t>Place text here</a:t>
            </a:r>
          </a:p>
          <a:p>
            <a:pPr lvl="1"/>
            <a:endParaRPr/>
          </a:p>
          <a:p>
            <a:pPr lvl="2"/>
            <a:endParaRPr/>
          </a:p>
          <a:p>
            <a:pPr lvl="3"/>
            <a:endParaRPr/>
          </a:p>
          <a:p>
            <a:pPr lvl="4"/>
            <a:endParaRPr/>
          </a:p>
        </p:txBody>
      </p:sp>
      <p:sp>
        <p:nvSpPr>
          <p:cNvPr id="94" name="Slide Numb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750586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200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9972713"/>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5176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48812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5836629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425137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1499817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84405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764185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378498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449634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70030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430233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45727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6142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5645920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487714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622430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57560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71729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313121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9795633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266533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086005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414975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71394176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34643695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487199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296259148"/>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49993660"/>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2344559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62811814"/>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6375505"/>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11993835"/>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4011246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51798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587044"/>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1052256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44484095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0227251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78209151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438571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59211697"/>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3958327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617894760"/>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50543586"/>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46149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41519742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181378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2813089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579942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1673650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97521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9044479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79267519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257259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338545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31311689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047044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29225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850433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1660390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a:t>Place subtitle here in GT Sectra Fine </a:t>
            </a:r>
            <a:r>
              <a:rPr lang="en-GB" err="1"/>
              <a:t>Rg</a:t>
            </a:r>
            <a:r>
              <a:rPr lang="en-GB"/>
              <a:t> 24pt</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78027663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8821976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444020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693440252"/>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18262885"/>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9627408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3318144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04913646"/>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1813175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4006744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78601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63884015"/>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60858585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430598743"/>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1093459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6707406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69215177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1654494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1090776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728141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31438981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2799205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9161190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361785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772371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1808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9095766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17198175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221637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tings Slide - GTS">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5" name="Picture 4" descr="A picture containing card, drawing, crosswalk, table&#10;&#10;Description automatically generated">
            <a:extLst>
              <a:ext uri="{FF2B5EF4-FFF2-40B4-BE49-F238E27FC236}">
                <a16:creationId xmlns:a16="http://schemas.microsoft.com/office/drawing/2014/main" id="{89528D09-D9F4-47CA-BBA9-7AF13078DF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Tree>
    <p:extLst>
      <p:ext uri="{BB962C8B-B14F-4D97-AF65-F5344CB8AC3E}">
        <p14:creationId xmlns:p14="http://schemas.microsoft.com/office/powerpoint/2010/main" val="358027983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1818215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Welcome</a:t>
            </a:r>
            <a:endParaRPr lang="en-US"/>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Tree>
    <p:extLst>
      <p:ext uri="{BB962C8B-B14F-4D97-AF65-F5344CB8AC3E}">
        <p14:creationId xmlns:p14="http://schemas.microsoft.com/office/powerpoint/2010/main" val="1788213747"/>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988743486"/>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tings + Greater Than S">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4FFA725-883D-D243-B475-CEF8C282ED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210089"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Welcome</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6FA1302B-6794-45FA-A428-AB50D28EF9A2}"/>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pic>
        <p:nvPicPr>
          <p:cNvPr id="5" name="Picture 4" descr="A picture containing card, drawing, crosswalk, table&#10;&#10;Description automatically generated">
            <a:extLst>
              <a:ext uri="{FF2B5EF4-FFF2-40B4-BE49-F238E27FC236}">
                <a16:creationId xmlns:a16="http://schemas.microsoft.com/office/drawing/2014/main" id="{E5FCD86B-B6A8-4016-9F0D-3FDC4C784D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9" y="5376231"/>
            <a:ext cx="670786" cy="710244"/>
          </a:xfrm>
          <a:prstGeom prst="rect">
            <a:avLst/>
          </a:prstGeom>
        </p:spPr>
      </p:pic>
    </p:spTree>
    <p:extLst>
      <p:ext uri="{BB962C8B-B14F-4D97-AF65-F5344CB8AC3E}">
        <p14:creationId xmlns:p14="http://schemas.microsoft.com/office/powerpoint/2010/main" val="410566901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GTS">
    <p:bg>
      <p:bgPr>
        <a:solidFill>
          <a:schemeClr val="accent3"/>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provided selections in the image library</a:t>
            </a:r>
            <a:endParaRPr lang="en-US" noProof="0"/>
          </a:p>
        </p:txBody>
      </p:sp>
      <p:pic>
        <p:nvPicPr>
          <p:cNvPr id="2" name="Picture 1" descr="A picture containing card, drawing, crosswalk, table&#10;&#10;Description automatically generated">
            <a:extLst>
              <a:ext uri="{FF2B5EF4-FFF2-40B4-BE49-F238E27FC236}">
                <a16:creationId xmlns:a16="http://schemas.microsoft.com/office/drawing/2014/main" id="{3C7C075D-013F-4D6D-8EA2-7E4465FC22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60607" y="5376231"/>
            <a:ext cx="670786" cy="710244"/>
          </a:xfrm>
          <a:prstGeom prst="rect">
            <a:avLst/>
          </a:prstGeom>
        </p:spPr>
      </p:pic>
      <p:sp>
        <p:nvSpPr>
          <p:cNvPr id="5" name="TextBox 4">
            <a:extLst>
              <a:ext uri="{FF2B5EF4-FFF2-40B4-BE49-F238E27FC236}">
                <a16:creationId xmlns:a16="http://schemas.microsoft.com/office/drawing/2014/main" id="{C12FF000-7B73-46EF-AF03-BC821DE671E7}"/>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Palatino Linotype 24pt</a:t>
            </a:r>
          </a:p>
        </p:txBody>
      </p:sp>
    </p:spTree>
    <p:extLst>
      <p:ext uri="{BB962C8B-B14F-4D97-AF65-F5344CB8AC3E}">
        <p14:creationId xmlns:p14="http://schemas.microsoft.com/office/powerpoint/2010/main" val="2273710871"/>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Logo">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10" name="TextBox 9">
            <a:extLst>
              <a:ext uri="{FF2B5EF4-FFF2-40B4-BE49-F238E27FC236}">
                <a16:creationId xmlns:a16="http://schemas.microsoft.com/office/drawing/2014/main" id="{175A7BBE-17FB-4B75-B79B-F6834CE3706C}"/>
              </a:ext>
            </a:extLst>
          </p:cNvPr>
          <p:cNvSpPr txBox="1"/>
          <p:nvPr userDrawn="1"/>
        </p:nvSpPr>
        <p:spPr>
          <a:xfrm>
            <a:off x="8698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a:t>Place subtitle here in Palatino Linotype 24pt</a:t>
            </a:r>
          </a:p>
        </p:txBody>
      </p:sp>
      <p:sp>
        <p:nvSpPr>
          <p:cNvPr id="18" name="TextBox 17">
            <a:extLst>
              <a:ext uri="{FF2B5EF4-FFF2-40B4-BE49-F238E27FC236}">
                <a16:creationId xmlns:a16="http://schemas.microsoft.com/office/drawing/2014/main" id="{6A165409-AACC-4605-8892-1A883468FD7E}"/>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provided selections in the image library</a:t>
            </a:r>
            <a:endParaRPr lang="en-US" noProof="0"/>
          </a:p>
        </p:txBody>
      </p:sp>
      <p:pic>
        <p:nvPicPr>
          <p:cNvPr id="5" name="Graphic 5">
            <a:extLst>
              <a:ext uri="{FF2B5EF4-FFF2-40B4-BE49-F238E27FC236}">
                <a16:creationId xmlns:a16="http://schemas.microsoft.com/office/drawing/2014/main" id="{AB0147B5-7C98-4E5D-8901-C96CE8A29E2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Tree>
    <p:extLst>
      <p:ext uri="{BB962C8B-B14F-4D97-AF65-F5344CB8AC3E}">
        <p14:creationId xmlns:p14="http://schemas.microsoft.com/office/powerpoint/2010/main" val="1478016236"/>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5" name="TextBox 4">
            <a:extLst>
              <a:ext uri="{FF2B5EF4-FFF2-40B4-BE49-F238E27FC236}">
                <a16:creationId xmlns:a16="http://schemas.microsoft.com/office/drawing/2014/main" id="{B467DB53-62C4-4756-975D-61C7B1206CE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9" name="TextBox 8">
            <a:extLst>
              <a:ext uri="{FF2B5EF4-FFF2-40B4-BE49-F238E27FC236}">
                <a16:creationId xmlns:a16="http://schemas.microsoft.com/office/drawing/2014/main" id="{F9D1A883-A380-48BD-9784-E5D4EAA2714C}"/>
              </a:ext>
            </a:extLst>
          </p:cNvPr>
          <p:cNvSpPr txBox="1"/>
          <p:nvPr userDrawn="1"/>
        </p:nvSpPr>
        <p:spPr>
          <a:xfrm>
            <a:off x="381000" y="6058209"/>
            <a:ext cx="3112110" cy="253691"/>
          </a:xfrm>
          <a:prstGeom prst="rect">
            <a:avLst/>
          </a:prstGeom>
          <a:noFill/>
        </p:spPr>
        <p:txBody>
          <a:bodyPr wrap="square" lIns="0" tIns="0" rIns="0" bIns="0" rtlCol="0" anchor="b">
            <a:noAutofit/>
          </a:bodyPr>
          <a:lstStyle/>
          <a:p>
            <a:pPr marL="0" marR="0" lvl="0" indent="0" algn="l"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i="0" spc="0" dirty="0" smtClean="0">
                <a:solidFill>
                  <a:schemeClr val="tx1"/>
                </a:solidFill>
                <a:latin typeface="Palatino Linotype" panose="02040502050505030304" pitchFamily="18"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Palatino Linotype 24pt</a:t>
            </a:r>
          </a:p>
        </p:txBody>
      </p:sp>
    </p:spTree>
    <p:extLst>
      <p:ext uri="{BB962C8B-B14F-4D97-AF65-F5344CB8AC3E}">
        <p14:creationId xmlns:p14="http://schemas.microsoft.com/office/powerpoint/2010/main" val="3627882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9C8654-2CC9-F541-A924-257D0187B57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89" y="0"/>
            <a:ext cx="12210089" cy="6858000"/>
          </a:xfrm>
          <a:prstGeom prst="rect">
            <a:avLst/>
          </a:prstGeom>
        </p:spPr>
      </p:pic>
      <p:sp>
        <p:nvSpPr>
          <p:cNvPr id="5" name="Rectangle 4">
            <a:extLst>
              <a:ext uri="{FF2B5EF4-FFF2-40B4-BE49-F238E27FC236}">
                <a16:creationId xmlns:a16="http://schemas.microsoft.com/office/drawing/2014/main" id="{E9EB74AD-1B7B-4DBD-AD4A-8DA48458B4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spTree>
    <p:extLst>
      <p:ext uri="{BB962C8B-B14F-4D97-AF65-F5344CB8AC3E}">
        <p14:creationId xmlns:p14="http://schemas.microsoft.com/office/powerpoint/2010/main" val="15504037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accent3"/>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62C8E55-8CAE-FC4A-BA3A-F66815D734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210089" cy="6858000"/>
          </a:xfrm>
          <a:prstGeom prst="rect">
            <a:avLst/>
          </a:prstGeom>
        </p:spPr>
      </p:pic>
      <p:sp>
        <p:nvSpPr>
          <p:cNvPr id="18" name="Rectangle 17">
            <a:extLst>
              <a:ext uri="{FF2B5EF4-FFF2-40B4-BE49-F238E27FC236}">
                <a16:creationId xmlns:a16="http://schemas.microsoft.com/office/drawing/2014/main" id="{AD922CB3-850F-0445-AC8B-17707616DE47}"/>
              </a:ext>
            </a:extLst>
          </p:cNvPr>
          <p:cNvSpPr/>
          <p:nvPr userDrawn="1"/>
        </p:nvSpPr>
        <p:spPr>
          <a:xfrm>
            <a:off x="0" y="0"/>
            <a:ext cx="12192000" cy="6858000"/>
          </a:xfrm>
          <a:prstGeom prst="rect">
            <a:avLst/>
          </a:prstGeom>
          <a:gradFill flip="none" rotWithShape="1">
            <a:gsLst>
              <a:gs pos="0">
                <a:schemeClr val="bg1">
                  <a:alpha val="3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ALUMNI OVERVIEW</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001" y="5813885"/>
            <a:ext cx="1884233" cy="498015"/>
          </a:xfrm>
          <a:prstGeom prst="rect">
            <a:avLst/>
          </a:prstGeom>
        </p:spPr>
      </p:pic>
      <p:sp>
        <p:nvSpPr>
          <p:cNvPr id="4" name="TextBox 3">
            <a:extLst>
              <a:ext uri="{FF2B5EF4-FFF2-40B4-BE49-F238E27FC236}">
                <a16:creationId xmlns:a16="http://schemas.microsoft.com/office/drawing/2014/main" id="{8506A9A1-BB92-4DC6-893F-3C43599C724E}"/>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Place subtitle here in Palatino Linotype 24pt</a:t>
            </a:r>
          </a:p>
        </p:txBody>
      </p:sp>
    </p:spTree>
    <p:extLst>
      <p:ext uri="{BB962C8B-B14F-4D97-AF65-F5344CB8AC3E}">
        <p14:creationId xmlns:p14="http://schemas.microsoft.com/office/powerpoint/2010/main" val="30734157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Basic - Dark, White Tex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26" name="TextBox 25">
            <a:extLst>
              <a:ext uri="{FF2B5EF4-FFF2-40B4-BE49-F238E27FC236}">
                <a16:creationId xmlns:a16="http://schemas.microsoft.com/office/drawing/2014/main" id="{95C777F7-C185-0145-A86B-3A8769FF5A97}"/>
              </a:ext>
            </a:extLst>
          </p:cNvPr>
          <p:cNvSpPr txBox="1"/>
          <p:nvPr userDrawn="1"/>
        </p:nvSpPr>
        <p:spPr>
          <a:xfrm>
            <a:off x="1149093" y="5959153"/>
            <a:ext cx="3102015" cy="11574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a:solidFill>
                  <a:schemeClr val="tx1"/>
                </a:solidFill>
              </a:rPr>
              <a:t>Copyright © 2022 Accenture. All rights reserved.</a:t>
            </a:r>
            <a:endParaRPr lang="en-US" sz="800">
              <a:solidFill>
                <a:schemeClr val="tx1"/>
              </a:solidFill>
            </a:endParaRPr>
          </a:p>
          <a:p>
            <a:pPr algn="r" defTabSz="228600">
              <a:spcAft>
                <a:spcPts val="1200"/>
              </a:spcAft>
            </a:pPr>
            <a:endParaRPr lang="en-US" noProof="0">
              <a:solidFill>
                <a:schemeClr val="tx1"/>
              </a:solidFill>
            </a:endParaRPr>
          </a:p>
        </p:txBody>
      </p:sp>
      <p:sp>
        <p:nvSpPr>
          <p:cNvPr id="4" name="TextBox 3">
            <a:extLst>
              <a:ext uri="{FF2B5EF4-FFF2-40B4-BE49-F238E27FC236}">
                <a16:creationId xmlns:a16="http://schemas.microsoft.com/office/drawing/2014/main" id="{844FA456-2D38-40C1-B831-1BBEA124254A}"/>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or Mid Purple (Accent 2)</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39104002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Basic - Light, Black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p>
        </p:txBody>
      </p:sp>
      <p:pic>
        <p:nvPicPr>
          <p:cNvPr id="8" name="Graphic 7">
            <a:extLst>
              <a:ext uri="{FF2B5EF4-FFF2-40B4-BE49-F238E27FC236}">
                <a16:creationId xmlns:a16="http://schemas.microsoft.com/office/drawing/2014/main" id="{4F59C2A9-CAAD-4437-A35B-5F02FAD0D9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a:t>
            </a:r>
          </a:p>
        </p:txBody>
      </p:sp>
      <p:sp>
        <p:nvSpPr>
          <p:cNvPr id="26" name="TextBox 25">
            <a:extLst>
              <a:ext uri="{FF2B5EF4-FFF2-40B4-BE49-F238E27FC236}">
                <a16:creationId xmlns:a16="http://schemas.microsoft.com/office/drawing/2014/main" id="{B49246FF-2C3D-9D46-B1DB-1D6FABA657CD}"/>
              </a:ext>
            </a:extLst>
          </p:cNvPr>
          <p:cNvSpPr txBox="1"/>
          <p:nvPr userDrawn="1"/>
        </p:nvSpPr>
        <p:spPr>
          <a:xfrm>
            <a:off x="1149093" y="5970728"/>
            <a:ext cx="3102015" cy="115747"/>
          </a:xfrm>
          <a:prstGeom prst="rect">
            <a:avLst/>
          </a:prstGeom>
          <a:noFill/>
        </p:spPr>
        <p:txBody>
          <a:bodyPr wrap="square" lIns="0" tIns="0" rIns="0" bIns="0" rtlCol="0" anchor="b">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a:solidFill>
                  <a:schemeClr val="tx2"/>
                </a:solidFill>
              </a:rPr>
              <a:t>Copyright © 2022 Accenture. All rights reserved.</a:t>
            </a:r>
            <a:endParaRPr lang="en-US" noProof="0">
              <a:solidFill>
                <a:schemeClr val="tx2"/>
              </a:solidFill>
            </a:endParaRPr>
          </a:p>
        </p:txBody>
      </p:sp>
    </p:spTree>
    <p:extLst>
      <p:ext uri="{BB962C8B-B14F-4D97-AF65-F5344CB8AC3E}">
        <p14:creationId xmlns:p14="http://schemas.microsoft.com/office/powerpoint/2010/main" val="33953423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58333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agenda summary here in Palatino Linotyp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a:t>Agenda</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a:t>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a:t>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a:t>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a:t>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a:t>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a:t>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a:t>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a:t>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a:t>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a:t>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00422099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Palatino Linotype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598763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tx1"/>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pic>
        <p:nvPicPr>
          <p:cNvPr id="4" name="Picture 3">
            <a:extLst>
              <a:ext uri="{FF2B5EF4-FFF2-40B4-BE49-F238E27FC236}">
                <a16:creationId xmlns:a16="http://schemas.microsoft.com/office/drawing/2014/main" id="{8EC07FC4-5CE3-4377-9FF4-FE915E8F0A0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Palatino Linotype 24pt</a:t>
            </a:r>
            <a:endParaRPr lang="en-US"/>
          </a:p>
        </p:txBody>
      </p:sp>
    </p:spTree>
    <p:extLst>
      <p:ext uri="{BB962C8B-B14F-4D97-AF65-F5344CB8AC3E}">
        <p14:creationId xmlns:p14="http://schemas.microsoft.com/office/powerpoint/2010/main" val="1991532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tx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latin typeface="Palatino Linotype" panose="02040502050505030304" pitchFamily="18"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GB"/>
              <a:t>Place subtitle here in Palatino Linotype 24pt</a:t>
            </a:r>
          </a:p>
        </p:txBody>
      </p:sp>
    </p:spTree>
    <p:extLst>
      <p:ext uri="{BB962C8B-B14F-4D97-AF65-F5344CB8AC3E}">
        <p14:creationId xmlns:p14="http://schemas.microsoft.com/office/powerpoint/2010/main" val="695802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6220622"/>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812417"/>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Palatino Linotype" panose="02040502050505030304" pitchFamily="18"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Palatino Linotyp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Tree>
    <p:extLst>
      <p:ext uri="{BB962C8B-B14F-4D97-AF65-F5344CB8AC3E}">
        <p14:creationId xmlns:p14="http://schemas.microsoft.com/office/powerpoint/2010/main" val="2909934694"/>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579320877"/>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Tree>
    <p:extLst>
      <p:ext uri="{BB962C8B-B14F-4D97-AF65-F5344CB8AC3E}">
        <p14:creationId xmlns:p14="http://schemas.microsoft.com/office/powerpoint/2010/main" val="138703919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41847186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130775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a:t>
            </a:r>
          </a:p>
          <a:p>
            <a:pPr lvl="1"/>
            <a:r>
              <a:rPr lang="en-US"/>
              <a:t>Details</a:t>
            </a:r>
          </a:p>
          <a:p>
            <a:pPr lvl="2"/>
            <a:r>
              <a:rPr lang="en-US"/>
              <a:t>More details</a:t>
            </a:r>
          </a:p>
          <a:p>
            <a:pPr lvl="3"/>
            <a:r>
              <a:rPr lang="en-US"/>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Tree>
    <p:extLst>
      <p:ext uri="{BB962C8B-B14F-4D97-AF65-F5344CB8AC3E}">
        <p14:creationId xmlns:p14="http://schemas.microsoft.com/office/powerpoint/2010/main" val="1136402222"/>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ull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Palatino Linotype" panose="02040502050505030304" pitchFamily="18"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a:t>Full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120761952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Tree>
    <p:extLst>
      <p:ext uri="{BB962C8B-B14F-4D97-AF65-F5344CB8AC3E}">
        <p14:creationId xmlns:p14="http://schemas.microsoft.com/office/powerpoint/2010/main" val="152780661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6 -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60880"/>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Palatino Linotype" panose="02040502050505030304" pitchFamily="18"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lvl="1"/>
            <a:r>
              <a:rPr lang="en-US"/>
              <a:t>Role</a:t>
            </a:r>
          </a:p>
          <a:p>
            <a:pPr lvl="2"/>
            <a:r>
              <a:rPr lang="en-US"/>
              <a:t>Short bio</a:t>
            </a:r>
          </a:p>
          <a:p>
            <a:pPr lvl="3"/>
            <a:r>
              <a:rPr lang="en-US"/>
              <a:t>Bullet point</a:t>
            </a:r>
          </a:p>
        </p:txBody>
      </p:sp>
      <p:pic>
        <p:nvPicPr>
          <p:cNvPr id="4" name="Picture 3">
            <a:extLst>
              <a:ext uri="{FF2B5EF4-FFF2-40B4-BE49-F238E27FC236}">
                <a16:creationId xmlns:a16="http://schemas.microsoft.com/office/drawing/2014/main" id="{DB3CD3D7-329E-47BB-94A7-43044FF6B3F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Tree>
    <p:extLst>
      <p:ext uri="{BB962C8B-B14F-4D97-AF65-F5344CB8AC3E}">
        <p14:creationId xmlns:p14="http://schemas.microsoft.com/office/powerpoint/2010/main" val="6968755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p>
            <a:pPr lvl="0"/>
            <a:r>
              <a:rPr lang="en-GB"/>
              <a:t>Place text here, use indent to access other level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a:t>Add profile photo</a:t>
            </a:r>
            <a:endParaRPr lang="en-US"/>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Palatino Linotype" panose="02040502050505030304" pitchFamily="18"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4213984602"/>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Palatino Linotype" panose="02040502050505030304" pitchFamily="18"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a:t>Place sub-headline here in Palatino Linotyp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Add image,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403702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noFill/>
        </p:spPr>
        <p:txBody>
          <a:bodyPr anchor="ctr"/>
          <a:lstStyle>
            <a:lvl1pPr marL="0" indent="0" algn="ctr">
              <a:buNone/>
              <a:defRPr sz="1400" b="0">
                <a:solidFill>
                  <a:schemeClr val="tx1"/>
                </a:solidFill>
              </a:defRPr>
            </a:lvl1pPr>
          </a:lstStyle>
          <a:p>
            <a:r>
              <a:rPr lang="en-GB"/>
              <a:t>Add image here</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Palatino Linotype" panose="02040502050505030304" pitchFamily="18" charset="0"/>
              </a:defRPr>
            </a:lvl1pPr>
            <a:lvl2pPr marL="0" indent="0">
              <a:buNone/>
              <a:defRPr sz="1800">
                <a:solidFill>
                  <a:schemeClr val="tx1"/>
                </a:solidFill>
              </a:defRPr>
            </a:lvl2pPr>
            <a:lvl3pPr marL="228600">
              <a:buFont typeface="Arial" panose="020B0604020202020204" pitchFamily="34" charset="0"/>
              <a:buChar char="•"/>
              <a:defRPr sz="1800">
                <a:solidFill>
                  <a:schemeClr val="tx1"/>
                </a:solidFill>
              </a:defRPr>
            </a:lvl3pPr>
            <a:lvl4pPr marL="457200">
              <a:buFont typeface="System Font"/>
              <a:buChar char="–"/>
              <a:defRPr sz="1600">
                <a:solidFill>
                  <a:schemeClr val="tx1"/>
                </a:solidFill>
              </a:defRPr>
            </a:lvl4pPr>
            <a:lvl5pPr marL="685800">
              <a:buFont typeface="Arial" panose="020B0604020202020204" pitchFamily="34" charset="0"/>
              <a:buChar char="•"/>
              <a:defRPr sz="1600">
                <a:solidFill>
                  <a:schemeClr val="tx1"/>
                </a:solidFill>
              </a:defRPr>
            </a:lvl5pPr>
          </a:lstStyle>
          <a:p>
            <a:pPr lvl="0"/>
            <a:r>
              <a:rPr lang="en-US"/>
              <a:t>Place sub-headline here in Palatino Linotype, indent for other levels</a:t>
            </a:r>
          </a:p>
          <a:p>
            <a:pPr lvl="1"/>
            <a:r>
              <a:rPr lang="en-US"/>
              <a:t>Second level (text 18pt)</a:t>
            </a:r>
          </a:p>
          <a:p>
            <a:pPr lvl="2"/>
            <a:r>
              <a:rPr lang="en-US"/>
              <a:t>Third level bullet (bullet 18pt)</a:t>
            </a:r>
          </a:p>
          <a:p>
            <a:pPr lvl="3"/>
            <a:r>
              <a:rPr lang="en-US"/>
              <a:t>Fourth level bullet (bullet 16pt)</a:t>
            </a:r>
          </a:p>
          <a:p>
            <a:pPr lvl="4"/>
            <a:r>
              <a:rPr lang="en-US"/>
              <a:t>Fifth level bullet (bullet 16pt)</a:t>
            </a:r>
          </a:p>
        </p:txBody>
      </p:sp>
    </p:spTree>
    <p:extLst>
      <p:ext uri="{BB962C8B-B14F-4D97-AF65-F5344CB8AC3E}">
        <p14:creationId xmlns:p14="http://schemas.microsoft.com/office/powerpoint/2010/main" val="39764867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a:t>Add image</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a:t>
            </a:r>
          </a:p>
        </p:txBody>
      </p:sp>
    </p:spTree>
    <p:extLst>
      <p:ext uri="{BB962C8B-B14F-4D97-AF65-F5344CB8AC3E}">
        <p14:creationId xmlns:p14="http://schemas.microsoft.com/office/powerpoint/2010/main" val="3234102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2 Accenture. All rights reserved.</a:t>
            </a:r>
            <a:endParaRPr lang="en-US" noProof="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Tree>
    <p:extLst>
      <p:ext uri="{BB962C8B-B14F-4D97-AF65-F5344CB8AC3E}">
        <p14:creationId xmlns:p14="http://schemas.microsoft.com/office/powerpoint/2010/main" val="34912601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a:t>Add image here</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a:t>Add image here</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2 Accenture. All rights reserved.</a:t>
            </a:r>
            <a:endParaRPr lang="en-US" noProof="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a:solidFill>
                <a:schemeClr val="bg1">
                  <a:alpha val="75000"/>
                </a:schemeClr>
              </a:solidFill>
            </a:endParaRPr>
          </a:p>
        </p:txBody>
      </p:sp>
      <p:sp>
        <p:nvSpPr>
          <p:cNvPr id="22" name="Title 1">
            <a:extLst>
              <a:ext uri="{FF2B5EF4-FFF2-40B4-BE49-F238E27FC236}">
                <a16:creationId xmlns:a16="http://schemas.microsoft.com/office/drawing/2014/main" id="{6C8DC3CA-63AA-4C0A-9715-02D7558630FD}"/>
              </a:ext>
            </a:extLst>
          </p:cNvPr>
          <p:cNvSpPr>
            <a:spLocks noGrp="1"/>
          </p:cNvSpPr>
          <p:nvPr>
            <p:ph type="title" hasCustomPrompt="1"/>
          </p:nvPr>
        </p:nvSpPr>
        <p:spPr>
          <a:xfrm>
            <a:off x="380942" y="380999"/>
            <a:ext cx="5333967" cy="2393952"/>
          </a:xfrm>
        </p:spPr>
        <p:txBody>
          <a:bodyPr anchor="ctr"/>
          <a:lstStyle>
            <a:lvl1pPr>
              <a:defRPr sz="3600">
                <a:solidFill>
                  <a:schemeClr val="tx1"/>
                </a:solidFill>
              </a:defRPr>
            </a:lvl1pPr>
          </a:lstStyle>
          <a:p>
            <a:r>
              <a:rPr lang="en-GB"/>
              <a:t>Place headline here 36pt, min 30pt)</a:t>
            </a:r>
          </a:p>
        </p:txBody>
      </p:sp>
    </p:spTree>
    <p:extLst>
      <p:ext uri="{BB962C8B-B14F-4D97-AF65-F5344CB8AC3E}">
        <p14:creationId xmlns:p14="http://schemas.microsoft.com/office/powerpoint/2010/main" val="4057107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77173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Tree>
    <p:extLst>
      <p:ext uri="{BB962C8B-B14F-4D97-AF65-F5344CB8AC3E}">
        <p14:creationId xmlns:p14="http://schemas.microsoft.com/office/powerpoint/2010/main" val="1138675792"/>
      </p:ext>
    </p:extLst>
  </p:cSld>
  <p:clrMapOvr>
    <a:overrideClrMapping bg1="dk1" tx1="lt1" bg2="dk2" tx2="lt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800" b="0" i="0" u="none" strike="noStrike" kern="0" cap="none" spc="0" normalizeH="0" baseline="0" noProof="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31611839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a:t>Add image,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 All rights reserved.</a:t>
            </a:r>
            <a:endParaRPr lang="en-US" noProof="0">
              <a:solidFill>
                <a:schemeClr val="tx1">
                  <a:alpha val="75000"/>
                </a:schemeClr>
              </a:solidFill>
            </a:endParaRPr>
          </a:p>
        </p:txBody>
      </p:sp>
    </p:spTree>
    <p:extLst>
      <p:ext uri="{BB962C8B-B14F-4D97-AF65-F5344CB8AC3E}">
        <p14:creationId xmlns:p14="http://schemas.microsoft.com/office/powerpoint/2010/main" val="1695216802"/>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EAD9AED-9987-4CE9-B39D-B256B46200E0}"/>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Tree>
    <p:extLst>
      <p:ext uri="{BB962C8B-B14F-4D97-AF65-F5344CB8AC3E}">
        <p14:creationId xmlns:p14="http://schemas.microsoft.com/office/powerpoint/2010/main" val="1664214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Guide - Icon Library">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CECD371-7C06-488E-AA23-EB47BBF733D9}"/>
              </a:ext>
            </a:extLst>
          </p:cNvPr>
          <p:cNvSpPr txBox="1">
            <a:spLocks/>
          </p:cNvSpPr>
          <p:nvPr userDrawn="1"/>
        </p:nvSpPr>
        <p:spPr>
          <a:xfrm>
            <a:off x="381000" y="381000"/>
            <a:ext cx="11430000" cy="914400"/>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a:lstStyle>
          <a:p>
            <a:r>
              <a:rPr lang="en-US" noProof="0"/>
              <a:t>Iconography: Monoline</a:t>
            </a:r>
          </a:p>
        </p:txBody>
      </p:sp>
      <p:sp>
        <p:nvSpPr>
          <p:cNvPr id="2" name="TextBox 1">
            <a:extLst>
              <a:ext uri="{FF2B5EF4-FFF2-40B4-BE49-F238E27FC236}">
                <a16:creationId xmlns:a16="http://schemas.microsoft.com/office/drawing/2014/main" id="{AF966297-1DCC-45B0-9DA7-3CE9DE25D2DF}"/>
              </a:ext>
            </a:extLst>
          </p:cNvPr>
          <p:cNvSpPr txBox="1"/>
          <p:nvPr userDrawn="1"/>
        </p:nvSpPr>
        <p:spPr>
          <a:xfrm>
            <a:off x="380999" y="927847"/>
            <a:ext cx="11429981" cy="500243"/>
          </a:xfrm>
          <a:prstGeom prst="rect">
            <a:avLst/>
          </a:prstGeom>
          <a:noFill/>
        </p:spPr>
        <p:txBody>
          <a:bodyPr wrap="square" lIns="0" tIns="0" rIns="0" bIns="0" rtlCol="0">
            <a:noAutofit/>
          </a:bodyPr>
          <a:lstStyle/>
          <a:p>
            <a:pPr defTabSz="228600">
              <a:spcAft>
                <a:spcPts val="1200"/>
              </a:spcAft>
            </a:pPr>
            <a:r>
              <a:rPr lang="en-GB" sz="1600"/>
              <a:t>Our expansive asset library including fonts, photography, iconography and custom slides are available </a:t>
            </a:r>
            <a:r>
              <a:rPr lang="en-GB" sz="1600">
                <a:solidFill>
                  <a:schemeClr val="accent1"/>
                </a:solidFill>
              </a:rPr>
              <a:t>[here &lt;link&gt;]</a:t>
            </a:r>
            <a:r>
              <a:rPr lang="en-GB" sz="1600"/>
              <a:t>. Contact </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mn-cs"/>
                <a:hlinkClick r:id="rId2"/>
              </a:rPr>
              <a:t>Amy.Ritz@Accenture.com</a:t>
            </a:r>
            <a:r>
              <a:rPr kumimoji="0" lang="en-GB" sz="1600" b="0" i="0" u="none" strike="noStrike" kern="1200" cap="none" spc="0" normalizeH="0" baseline="0" noProof="0">
                <a:ln>
                  <a:noFill/>
                </a:ln>
                <a:solidFill>
                  <a:srgbClr val="A100FF"/>
                </a:solidFill>
                <a:effectLst/>
                <a:uLnTx/>
                <a:uFillTx/>
                <a:latin typeface="Arial" panose="020B0604020202020204" pitchFamily="34" charset="0"/>
                <a:ea typeface="+mn-ea"/>
                <a:cs typeface="+mn-cs"/>
              </a:rPr>
              <a:t> </a:t>
            </a:r>
            <a:r>
              <a:rPr lang="en-GB" sz="1600"/>
              <a:t>for further information. Access the icons below through </a:t>
            </a:r>
            <a:r>
              <a:rPr lang="en-GB" sz="1600" b="1">
                <a:solidFill>
                  <a:schemeClr val="accent1"/>
                </a:solidFill>
              </a:rPr>
              <a:t>View &gt; Slide Master</a:t>
            </a:r>
            <a:r>
              <a:rPr lang="en-GB" sz="1600"/>
              <a:t>.</a:t>
            </a:r>
          </a:p>
        </p:txBody>
      </p:sp>
      <p:sp>
        <p:nvSpPr>
          <p:cNvPr id="4" name="Freeform 127">
            <a:extLst>
              <a:ext uri="{FF2B5EF4-FFF2-40B4-BE49-F238E27FC236}">
                <a16:creationId xmlns:a16="http://schemas.microsoft.com/office/drawing/2014/main" id="{80F51A57-4DBA-FA4F-916F-88328E5E0137}"/>
              </a:ext>
            </a:extLst>
          </p:cNvPr>
          <p:cNvSpPr>
            <a:spLocks noEditPoints="1"/>
          </p:cNvSpPr>
          <p:nvPr userDrawn="1"/>
        </p:nvSpPr>
        <p:spPr bwMode="auto">
          <a:xfrm>
            <a:off x="767063" y="1981658"/>
            <a:ext cx="513948" cy="396598"/>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32" name="Group 31">
            <a:extLst>
              <a:ext uri="{FF2B5EF4-FFF2-40B4-BE49-F238E27FC236}">
                <a16:creationId xmlns:a16="http://schemas.microsoft.com/office/drawing/2014/main" id="{DE8D8CA6-2132-3B4A-BC60-9F91E4B1458B}"/>
              </a:ext>
            </a:extLst>
          </p:cNvPr>
          <p:cNvGrpSpPr/>
          <p:nvPr userDrawn="1"/>
        </p:nvGrpSpPr>
        <p:grpSpPr>
          <a:xfrm>
            <a:off x="380999" y="1577830"/>
            <a:ext cx="11429980" cy="4734070"/>
            <a:chOff x="380999" y="1577845"/>
            <a:chExt cx="11520823" cy="5122866"/>
          </a:xfrm>
          <a:noFill/>
        </p:grpSpPr>
        <p:sp>
          <p:nvSpPr>
            <p:cNvPr id="3" name="Rectangle 2">
              <a:extLst>
                <a:ext uri="{FF2B5EF4-FFF2-40B4-BE49-F238E27FC236}">
                  <a16:creationId xmlns:a16="http://schemas.microsoft.com/office/drawing/2014/main" id="{6AE293C8-14C3-874B-8890-DD874D9F5187}"/>
                </a:ext>
              </a:extLst>
            </p:cNvPr>
            <p:cNvSpPr/>
            <p:nvPr userDrawn="1"/>
          </p:nvSpPr>
          <p:spPr>
            <a:xfrm>
              <a:off x="380999"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1" name="Rectangle 10">
              <a:extLst>
                <a:ext uri="{FF2B5EF4-FFF2-40B4-BE49-F238E27FC236}">
                  <a16:creationId xmlns:a16="http://schemas.microsoft.com/office/drawing/2014/main" id="{5956D8B7-72A3-4147-AD60-AFE0126E0C59}"/>
                </a:ext>
              </a:extLst>
            </p:cNvPr>
            <p:cNvSpPr/>
            <p:nvPr userDrawn="1"/>
          </p:nvSpPr>
          <p:spPr>
            <a:xfrm>
              <a:off x="166171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2" name="Rectangle 11">
              <a:extLst>
                <a:ext uri="{FF2B5EF4-FFF2-40B4-BE49-F238E27FC236}">
                  <a16:creationId xmlns:a16="http://schemas.microsoft.com/office/drawing/2014/main" id="{088FFDCF-08AC-A745-A14B-1FB83D20EF87}"/>
                </a:ext>
              </a:extLst>
            </p:cNvPr>
            <p:cNvSpPr/>
            <p:nvPr userDrawn="1"/>
          </p:nvSpPr>
          <p:spPr>
            <a:xfrm>
              <a:off x="294243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3" name="Rectangle 12">
              <a:extLst>
                <a:ext uri="{FF2B5EF4-FFF2-40B4-BE49-F238E27FC236}">
                  <a16:creationId xmlns:a16="http://schemas.microsoft.com/office/drawing/2014/main" id="{02B6DE6F-DAF8-E246-AB81-6B639342348F}"/>
                </a:ext>
              </a:extLst>
            </p:cNvPr>
            <p:cNvSpPr/>
            <p:nvPr userDrawn="1"/>
          </p:nvSpPr>
          <p:spPr>
            <a:xfrm>
              <a:off x="422314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14" name="Rectangle 13">
              <a:extLst>
                <a:ext uri="{FF2B5EF4-FFF2-40B4-BE49-F238E27FC236}">
                  <a16:creationId xmlns:a16="http://schemas.microsoft.com/office/drawing/2014/main" id="{23841CF2-263C-B04E-9960-36397C49999B}"/>
                </a:ext>
              </a:extLst>
            </p:cNvPr>
            <p:cNvSpPr/>
            <p:nvPr userDrawn="1"/>
          </p:nvSpPr>
          <p:spPr>
            <a:xfrm>
              <a:off x="550386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2" name="Rectangle 21">
              <a:extLst>
                <a:ext uri="{FF2B5EF4-FFF2-40B4-BE49-F238E27FC236}">
                  <a16:creationId xmlns:a16="http://schemas.microsoft.com/office/drawing/2014/main" id="{82987178-6410-AF4D-A95C-0F3F1BDEE23D}"/>
                </a:ext>
              </a:extLst>
            </p:cNvPr>
            <p:cNvSpPr/>
            <p:nvPr userDrawn="1"/>
          </p:nvSpPr>
          <p:spPr>
            <a:xfrm>
              <a:off x="380999"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3" name="Rectangle 22">
              <a:extLst>
                <a:ext uri="{FF2B5EF4-FFF2-40B4-BE49-F238E27FC236}">
                  <a16:creationId xmlns:a16="http://schemas.microsoft.com/office/drawing/2014/main" id="{2970435B-0CE9-444F-B4A6-D7E0FE1E8098}"/>
                </a:ext>
              </a:extLst>
            </p:cNvPr>
            <p:cNvSpPr/>
            <p:nvPr userDrawn="1"/>
          </p:nvSpPr>
          <p:spPr>
            <a:xfrm>
              <a:off x="166171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4" name="Rectangle 23">
              <a:extLst>
                <a:ext uri="{FF2B5EF4-FFF2-40B4-BE49-F238E27FC236}">
                  <a16:creationId xmlns:a16="http://schemas.microsoft.com/office/drawing/2014/main" id="{D637EA29-2A06-9242-B2F2-EA7F43329956}"/>
                </a:ext>
              </a:extLst>
            </p:cNvPr>
            <p:cNvSpPr/>
            <p:nvPr userDrawn="1"/>
          </p:nvSpPr>
          <p:spPr>
            <a:xfrm>
              <a:off x="294243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5" name="Rectangle 24">
              <a:extLst>
                <a:ext uri="{FF2B5EF4-FFF2-40B4-BE49-F238E27FC236}">
                  <a16:creationId xmlns:a16="http://schemas.microsoft.com/office/drawing/2014/main" id="{EA48AEFC-712D-D044-81E5-6C1E41110759}"/>
                </a:ext>
              </a:extLst>
            </p:cNvPr>
            <p:cNvSpPr/>
            <p:nvPr userDrawn="1"/>
          </p:nvSpPr>
          <p:spPr>
            <a:xfrm>
              <a:off x="422314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6" name="Rectangle 25">
              <a:extLst>
                <a:ext uri="{FF2B5EF4-FFF2-40B4-BE49-F238E27FC236}">
                  <a16:creationId xmlns:a16="http://schemas.microsoft.com/office/drawing/2014/main" id="{A7CBE003-D5E8-864C-98FA-9796248CE2AC}"/>
                </a:ext>
              </a:extLst>
            </p:cNvPr>
            <p:cNvSpPr/>
            <p:nvPr userDrawn="1"/>
          </p:nvSpPr>
          <p:spPr>
            <a:xfrm>
              <a:off x="550386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7" name="Rectangle 26">
              <a:extLst>
                <a:ext uri="{FF2B5EF4-FFF2-40B4-BE49-F238E27FC236}">
                  <a16:creationId xmlns:a16="http://schemas.microsoft.com/office/drawing/2014/main" id="{BADE82A5-95E4-6C4B-B11D-D53B6705F30D}"/>
                </a:ext>
              </a:extLst>
            </p:cNvPr>
            <p:cNvSpPr/>
            <p:nvPr userDrawn="1"/>
          </p:nvSpPr>
          <p:spPr>
            <a:xfrm>
              <a:off x="380999"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8" name="Rectangle 27">
              <a:extLst>
                <a:ext uri="{FF2B5EF4-FFF2-40B4-BE49-F238E27FC236}">
                  <a16:creationId xmlns:a16="http://schemas.microsoft.com/office/drawing/2014/main" id="{6D3153DA-7E96-5A48-85FB-7AA1D84749D2}"/>
                </a:ext>
              </a:extLst>
            </p:cNvPr>
            <p:cNvSpPr/>
            <p:nvPr userDrawn="1"/>
          </p:nvSpPr>
          <p:spPr>
            <a:xfrm>
              <a:off x="166171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29" name="Rectangle 28">
              <a:extLst>
                <a:ext uri="{FF2B5EF4-FFF2-40B4-BE49-F238E27FC236}">
                  <a16:creationId xmlns:a16="http://schemas.microsoft.com/office/drawing/2014/main" id="{784E1B72-B1CA-DE40-964D-0211741FA050}"/>
                </a:ext>
              </a:extLst>
            </p:cNvPr>
            <p:cNvSpPr/>
            <p:nvPr userDrawn="1"/>
          </p:nvSpPr>
          <p:spPr>
            <a:xfrm>
              <a:off x="294243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0" name="Rectangle 29">
              <a:extLst>
                <a:ext uri="{FF2B5EF4-FFF2-40B4-BE49-F238E27FC236}">
                  <a16:creationId xmlns:a16="http://schemas.microsoft.com/office/drawing/2014/main" id="{0EDEA1F2-0336-5941-9F8D-A8F560A28115}"/>
                </a:ext>
              </a:extLst>
            </p:cNvPr>
            <p:cNvSpPr/>
            <p:nvPr userDrawn="1"/>
          </p:nvSpPr>
          <p:spPr>
            <a:xfrm>
              <a:off x="422314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31" name="Rectangle 30">
              <a:extLst>
                <a:ext uri="{FF2B5EF4-FFF2-40B4-BE49-F238E27FC236}">
                  <a16:creationId xmlns:a16="http://schemas.microsoft.com/office/drawing/2014/main" id="{C57AB087-9AA7-2D4E-A82A-605B50372D51}"/>
                </a:ext>
              </a:extLst>
            </p:cNvPr>
            <p:cNvSpPr/>
            <p:nvPr userDrawn="1"/>
          </p:nvSpPr>
          <p:spPr>
            <a:xfrm>
              <a:off x="550386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2" name="Rectangle 41">
              <a:extLst>
                <a:ext uri="{FF2B5EF4-FFF2-40B4-BE49-F238E27FC236}">
                  <a16:creationId xmlns:a16="http://schemas.microsoft.com/office/drawing/2014/main" id="{0F447629-D1B9-0546-851F-E0D5ED605B7A}"/>
                </a:ext>
              </a:extLst>
            </p:cNvPr>
            <p:cNvSpPr/>
            <p:nvPr userDrawn="1"/>
          </p:nvSpPr>
          <p:spPr>
            <a:xfrm>
              <a:off x="6784581"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3" name="Rectangle 42">
              <a:extLst>
                <a:ext uri="{FF2B5EF4-FFF2-40B4-BE49-F238E27FC236}">
                  <a16:creationId xmlns:a16="http://schemas.microsoft.com/office/drawing/2014/main" id="{FE9B1291-33A4-EE48-806C-B5D7A1613345}"/>
                </a:ext>
              </a:extLst>
            </p:cNvPr>
            <p:cNvSpPr/>
            <p:nvPr userDrawn="1"/>
          </p:nvSpPr>
          <p:spPr>
            <a:xfrm>
              <a:off x="6784581"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4" name="Rectangle 43">
              <a:extLst>
                <a:ext uri="{FF2B5EF4-FFF2-40B4-BE49-F238E27FC236}">
                  <a16:creationId xmlns:a16="http://schemas.microsoft.com/office/drawing/2014/main" id="{69CEBC75-F9B2-DF40-8FAB-B56A760AED4B}"/>
                </a:ext>
              </a:extLst>
            </p:cNvPr>
            <p:cNvSpPr/>
            <p:nvPr userDrawn="1"/>
          </p:nvSpPr>
          <p:spPr>
            <a:xfrm>
              <a:off x="6784581"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5" name="Rectangle 44">
              <a:extLst>
                <a:ext uri="{FF2B5EF4-FFF2-40B4-BE49-F238E27FC236}">
                  <a16:creationId xmlns:a16="http://schemas.microsoft.com/office/drawing/2014/main" id="{EE5FF759-951A-054F-9F4A-482FE7225052}"/>
                </a:ext>
              </a:extLst>
            </p:cNvPr>
            <p:cNvSpPr/>
            <p:nvPr userDrawn="1"/>
          </p:nvSpPr>
          <p:spPr>
            <a:xfrm>
              <a:off x="8065298"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6" name="Rectangle 45">
              <a:extLst>
                <a:ext uri="{FF2B5EF4-FFF2-40B4-BE49-F238E27FC236}">
                  <a16:creationId xmlns:a16="http://schemas.microsoft.com/office/drawing/2014/main" id="{90EB0590-F226-6748-B645-71C913F9B674}"/>
                </a:ext>
              </a:extLst>
            </p:cNvPr>
            <p:cNvSpPr/>
            <p:nvPr userDrawn="1"/>
          </p:nvSpPr>
          <p:spPr>
            <a:xfrm>
              <a:off x="8065298"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7" name="Rectangle 46">
              <a:extLst>
                <a:ext uri="{FF2B5EF4-FFF2-40B4-BE49-F238E27FC236}">
                  <a16:creationId xmlns:a16="http://schemas.microsoft.com/office/drawing/2014/main" id="{5D31B860-B762-A94B-B4E7-355AC4826289}"/>
                </a:ext>
              </a:extLst>
            </p:cNvPr>
            <p:cNvSpPr/>
            <p:nvPr userDrawn="1"/>
          </p:nvSpPr>
          <p:spPr>
            <a:xfrm>
              <a:off x="8065298"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8" name="Rectangle 47">
              <a:extLst>
                <a:ext uri="{FF2B5EF4-FFF2-40B4-BE49-F238E27FC236}">
                  <a16:creationId xmlns:a16="http://schemas.microsoft.com/office/drawing/2014/main" id="{982F9D60-F80B-2F4A-9903-3996F96A22C1}"/>
                </a:ext>
              </a:extLst>
            </p:cNvPr>
            <p:cNvSpPr/>
            <p:nvPr userDrawn="1"/>
          </p:nvSpPr>
          <p:spPr>
            <a:xfrm>
              <a:off x="380999" y="5419994"/>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49" name="Rectangle 48">
              <a:extLst>
                <a:ext uri="{FF2B5EF4-FFF2-40B4-BE49-F238E27FC236}">
                  <a16:creationId xmlns:a16="http://schemas.microsoft.com/office/drawing/2014/main" id="{69C6B9A7-FBBB-F541-A935-BD7AF34D2A23}"/>
                </a:ext>
              </a:extLst>
            </p:cNvPr>
            <p:cNvSpPr/>
            <p:nvPr userDrawn="1"/>
          </p:nvSpPr>
          <p:spPr>
            <a:xfrm>
              <a:off x="166171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0" name="Rectangle 49">
              <a:extLst>
                <a:ext uri="{FF2B5EF4-FFF2-40B4-BE49-F238E27FC236}">
                  <a16:creationId xmlns:a16="http://schemas.microsoft.com/office/drawing/2014/main" id="{D53EEC05-B7DA-1540-9D32-177152835D78}"/>
                </a:ext>
              </a:extLst>
            </p:cNvPr>
            <p:cNvSpPr/>
            <p:nvPr userDrawn="1"/>
          </p:nvSpPr>
          <p:spPr>
            <a:xfrm>
              <a:off x="294243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1" name="Rectangle 50">
              <a:extLst>
                <a:ext uri="{FF2B5EF4-FFF2-40B4-BE49-F238E27FC236}">
                  <a16:creationId xmlns:a16="http://schemas.microsoft.com/office/drawing/2014/main" id="{4FF87792-0038-E245-A756-AFA193BEC33C}"/>
                </a:ext>
              </a:extLst>
            </p:cNvPr>
            <p:cNvSpPr/>
            <p:nvPr userDrawn="1"/>
          </p:nvSpPr>
          <p:spPr>
            <a:xfrm>
              <a:off x="422314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2" name="Rectangle 51">
              <a:extLst>
                <a:ext uri="{FF2B5EF4-FFF2-40B4-BE49-F238E27FC236}">
                  <a16:creationId xmlns:a16="http://schemas.microsoft.com/office/drawing/2014/main" id="{563EA47D-7036-6149-BFDD-AE64B4F0440E}"/>
                </a:ext>
              </a:extLst>
            </p:cNvPr>
            <p:cNvSpPr/>
            <p:nvPr userDrawn="1"/>
          </p:nvSpPr>
          <p:spPr>
            <a:xfrm>
              <a:off x="550386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3" name="Rectangle 52">
              <a:extLst>
                <a:ext uri="{FF2B5EF4-FFF2-40B4-BE49-F238E27FC236}">
                  <a16:creationId xmlns:a16="http://schemas.microsoft.com/office/drawing/2014/main" id="{04CBC1BB-E618-4143-8102-0EE9DB6F72F6}"/>
                </a:ext>
              </a:extLst>
            </p:cNvPr>
            <p:cNvSpPr/>
            <p:nvPr userDrawn="1"/>
          </p:nvSpPr>
          <p:spPr>
            <a:xfrm>
              <a:off x="6784581"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4" name="Rectangle 53">
              <a:extLst>
                <a:ext uri="{FF2B5EF4-FFF2-40B4-BE49-F238E27FC236}">
                  <a16:creationId xmlns:a16="http://schemas.microsoft.com/office/drawing/2014/main" id="{16302F22-33DC-404D-B9F7-4999125BE1C0}"/>
                </a:ext>
              </a:extLst>
            </p:cNvPr>
            <p:cNvSpPr/>
            <p:nvPr userDrawn="1"/>
          </p:nvSpPr>
          <p:spPr>
            <a:xfrm>
              <a:off x="8065298"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5" name="Rectangle 54">
              <a:extLst>
                <a:ext uri="{FF2B5EF4-FFF2-40B4-BE49-F238E27FC236}">
                  <a16:creationId xmlns:a16="http://schemas.microsoft.com/office/drawing/2014/main" id="{63913E2F-D6C7-6E4C-AF84-F30990D1C5F1}"/>
                </a:ext>
              </a:extLst>
            </p:cNvPr>
            <p:cNvSpPr/>
            <p:nvPr userDrawn="1"/>
          </p:nvSpPr>
          <p:spPr>
            <a:xfrm>
              <a:off x="9343202"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6" name="Rectangle 55">
              <a:extLst>
                <a:ext uri="{FF2B5EF4-FFF2-40B4-BE49-F238E27FC236}">
                  <a16:creationId xmlns:a16="http://schemas.microsoft.com/office/drawing/2014/main" id="{98F6AD2D-9784-F642-A106-04B3A189A305}"/>
                </a:ext>
              </a:extLst>
            </p:cNvPr>
            <p:cNvSpPr/>
            <p:nvPr userDrawn="1"/>
          </p:nvSpPr>
          <p:spPr>
            <a:xfrm>
              <a:off x="9343202"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7" name="Rectangle 56">
              <a:extLst>
                <a:ext uri="{FF2B5EF4-FFF2-40B4-BE49-F238E27FC236}">
                  <a16:creationId xmlns:a16="http://schemas.microsoft.com/office/drawing/2014/main" id="{15BAA71B-3977-2C45-BFCD-DD42EE282F3A}"/>
                </a:ext>
              </a:extLst>
            </p:cNvPr>
            <p:cNvSpPr/>
            <p:nvPr userDrawn="1"/>
          </p:nvSpPr>
          <p:spPr>
            <a:xfrm>
              <a:off x="9343202"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8" name="Rectangle 57">
              <a:extLst>
                <a:ext uri="{FF2B5EF4-FFF2-40B4-BE49-F238E27FC236}">
                  <a16:creationId xmlns:a16="http://schemas.microsoft.com/office/drawing/2014/main" id="{009A6B8D-0BC6-844C-98BC-26714B74B89C}"/>
                </a:ext>
              </a:extLst>
            </p:cNvPr>
            <p:cNvSpPr/>
            <p:nvPr userDrawn="1"/>
          </p:nvSpPr>
          <p:spPr>
            <a:xfrm>
              <a:off x="9343202"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59" name="Rectangle 58">
              <a:extLst>
                <a:ext uri="{FF2B5EF4-FFF2-40B4-BE49-F238E27FC236}">
                  <a16:creationId xmlns:a16="http://schemas.microsoft.com/office/drawing/2014/main" id="{D8F3FD9C-200A-6341-94B3-0C1EB6DACAB0}"/>
                </a:ext>
              </a:extLst>
            </p:cNvPr>
            <p:cNvSpPr/>
            <p:nvPr userDrawn="1"/>
          </p:nvSpPr>
          <p:spPr>
            <a:xfrm>
              <a:off x="10621105" y="1577845"/>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0" name="Rectangle 59">
              <a:extLst>
                <a:ext uri="{FF2B5EF4-FFF2-40B4-BE49-F238E27FC236}">
                  <a16:creationId xmlns:a16="http://schemas.microsoft.com/office/drawing/2014/main" id="{138373EE-C7AD-A948-BF2D-EFDCBD86A63D}"/>
                </a:ext>
              </a:extLst>
            </p:cNvPr>
            <p:cNvSpPr/>
            <p:nvPr userDrawn="1"/>
          </p:nvSpPr>
          <p:spPr>
            <a:xfrm>
              <a:off x="10621105" y="2858561"/>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1" name="Rectangle 60">
              <a:extLst>
                <a:ext uri="{FF2B5EF4-FFF2-40B4-BE49-F238E27FC236}">
                  <a16:creationId xmlns:a16="http://schemas.microsoft.com/office/drawing/2014/main" id="{1D9BF3B8-1553-CB43-861A-0C55AC833BFD}"/>
                </a:ext>
              </a:extLst>
            </p:cNvPr>
            <p:cNvSpPr/>
            <p:nvPr userDrawn="1"/>
          </p:nvSpPr>
          <p:spPr>
            <a:xfrm>
              <a:off x="10621105" y="4139278"/>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sp>
          <p:nvSpPr>
            <p:cNvPr id="62" name="Rectangle 61">
              <a:extLst>
                <a:ext uri="{FF2B5EF4-FFF2-40B4-BE49-F238E27FC236}">
                  <a16:creationId xmlns:a16="http://schemas.microsoft.com/office/drawing/2014/main" id="{A6D0F4D3-BA10-E141-99A5-7B49C20DF11A}"/>
                </a:ext>
              </a:extLst>
            </p:cNvPr>
            <p:cNvSpPr/>
            <p:nvPr userDrawn="1"/>
          </p:nvSpPr>
          <p:spPr>
            <a:xfrm>
              <a:off x="10621105" y="5419993"/>
              <a:ext cx="1280717" cy="1280717"/>
            </a:xfrm>
            <a:prstGeom prst="rect">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txBody>
            <a:bodyPr tIns="91440" bIns="91440" rtlCol="0" anchor="t"/>
            <a:lstStyle/>
            <a:p>
              <a:pPr algn="ctr"/>
              <a:endParaRPr lang="en-US" err="1"/>
            </a:p>
          </p:txBody>
        </p:sp>
      </p:grpSp>
      <p:sp>
        <p:nvSpPr>
          <p:cNvPr id="37" name="Freeform 69">
            <a:extLst>
              <a:ext uri="{FF2B5EF4-FFF2-40B4-BE49-F238E27FC236}">
                <a16:creationId xmlns:a16="http://schemas.microsoft.com/office/drawing/2014/main" id="{3634B592-2BB6-5C4B-A72F-5EE93BA6F81A}"/>
              </a:ext>
            </a:extLst>
          </p:cNvPr>
          <p:cNvSpPr>
            <a:spLocks noEditPoints="1"/>
          </p:cNvSpPr>
          <p:nvPr userDrawn="1"/>
        </p:nvSpPr>
        <p:spPr bwMode="auto">
          <a:xfrm>
            <a:off x="3325653" y="1967482"/>
            <a:ext cx="499664" cy="424950"/>
          </a:xfrm>
          <a:custGeom>
            <a:avLst/>
            <a:gdLst>
              <a:gd name="T0" fmla="*/ 90 w 289"/>
              <a:gd name="T1" fmla="*/ 246 h 246"/>
              <a:gd name="T2" fmla="*/ 86 w 289"/>
              <a:gd name="T3" fmla="*/ 244 h 246"/>
              <a:gd name="T4" fmla="*/ 2 w 289"/>
              <a:gd name="T5" fmla="*/ 160 h 246"/>
              <a:gd name="T6" fmla="*/ 2 w 289"/>
              <a:gd name="T7" fmla="*/ 152 h 246"/>
              <a:gd name="T8" fmla="*/ 44 w 289"/>
              <a:gd name="T9" fmla="*/ 110 h 246"/>
              <a:gd name="T10" fmla="*/ 53 w 289"/>
              <a:gd name="T11" fmla="*/ 110 h 246"/>
              <a:gd name="T12" fmla="*/ 90 w 289"/>
              <a:gd name="T13" fmla="*/ 148 h 246"/>
              <a:gd name="T14" fmla="*/ 236 w 289"/>
              <a:gd name="T15" fmla="*/ 2 h 246"/>
              <a:gd name="T16" fmla="*/ 245 w 289"/>
              <a:gd name="T17" fmla="*/ 2 h 246"/>
              <a:gd name="T18" fmla="*/ 287 w 289"/>
              <a:gd name="T19" fmla="*/ 44 h 246"/>
              <a:gd name="T20" fmla="*/ 287 w 289"/>
              <a:gd name="T21" fmla="*/ 52 h 246"/>
              <a:gd name="T22" fmla="*/ 95 w 289"/>
              <a:gd name="T23" fmla="*/ 244 h 246"/>
              <a:gd name="T24" fmla="*/ 90 w 289"/>
              <a:gd name="T25" fmla="*/ 246 h 246"/>
              <a:gd name="T26" fmla="*/ 15 w 289"/>
              <a:gd name="T27" fmla="*/ 156 h 246"/>
              <a:gd name="T28" fmla="*/ 90 w 289"/>
              <a:gd name="T29" fmla="*/ 232 h 246"/>
              <a:gd name="T30" fmla="*/ 274 w 289"/>
              <a:gd name="T31" fmla="*/ 48 h 246"/>
              <a:gd name="T32" fmla="*/ 240 w 289"/>
              <a:gd name="T33" fmla="*/ 15 h 246"/>
              <a:gd name="T34" fmla="*/ 95 w 289"/>
              <a:gd name="T35" fmla="*/ 160 h 246"/>
              <a:gd name="T36" fmla="*/ 86 w 289"/>
              <a:gd name="T37" fmla="*/ 160 h 246"/>
              <a:gd name="T38" fmla="*/ 48 w 289"/>
              <a:gd name="T39" fmla="*/ 123 h 246"/>
              <a:gd name="T40" fmla="*/ 15 w 289"/>
              <a:gd name="T41" fmla="*/ 1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9" h="246">
                <a:moveTo>
                  <a:pt x="90" y="246"/>
                </a:moveTo>
                <a:cubicBezTo>
                  <a:pt x="89" y="246"/>
                  <a:pt x="87" y="246"/>
                  <a:pt x="86" y="244"/>
                </a:cubicBezTo>
                <a:cubicBezTo>
                  <a:pt x="2" y="160"/>
                  <a:pt x="2" y="160"/>
                  <a:pt x="2" y="160"/>
                </a:cubicBezTo>
                <a:cubicBezTo>
                  <a:pt x="0" y="158"/>
                  <a:pt x="0" y="154"/>
                  <a:pt x="2" y="152"/>
                </a:cubicBezTo>
                <a:cubicBezTo>
                  <a:pt x="44" y="110"/>
                  <a:pt x="44" y="110"/>
                  <a:pt x="44" y="110"/>
                </a:cubicBezTo>
                <a:cubicBezTo>
                  <a:pt x="47" y="108"/>
                  <a:pt x="50" y="108"/>
                  <a:pt x="53" y="110"/>
                </a:cubicBezTo>
                <a:cubicBezTo>
                  <a:pt x="90" y="148"/>
                  <a:pt x="90" y="148"/>
                  <a:pt x="90" y="148"/>
                </a:cubicBezTo>
                <a:cubicBezTo>
                  <a:pt x="236" y="2"/>
                  <a:pt x="236" y="2"/>
                  <a:pt x="236" y="2"/>
                </a:cubicBezTo>
                <a:cubicBezTo>
                  <a:pt x="239" y="0"/>
                  <a:pt x="242" y="0"/>
                  <a:pt x="245" y="2"/>
                </a:cubicBezTo>
                <a:cubicBezTo>
                  <a:pt x="287" y="44"/>
                  <a:pt x="287" y="44"/>
                  <a:pt x="287" y="44"/>
                </a:cubicBezTo>
                <a:cubicBezTo>
                  <a:pt x="289" y="46"/>
                  <a:pt x="289" y="50"/>
                  <a:pt x="287" y="52"/>
                </a:cubicBezTo>
                <a:cubicBezTo>
                  <a:pt x="95" y="244"/>
                  <a:pt x="95" y="244"/>
                  <a:pt x="95" y="244"/>
                </a:cubicBezTo>
                <a:cubicBezTo>
                  <a:pt x="94" y="246"/>
                  <a:pt x="92" y="246"/>
                  <a:pt x="90" y="246"/>
                </a:cubicBezTo>
                <a:close/>
                <a:moveTo>
                  <a:pt x="15" y="156"/>
                </a:moveTo>
                <a:cubicBezTo>
                  <a:pt x="90" y="232"/>
                  <a:pt x="90" y="232"/>
                  <a:pt x="90" y="232"/>
                </a:cubicBezTo>
                <a:cubicBezTo>
                  <a:pt x="274" y="48"/>
                  <a:pt x="274" y="48"/>
                  <a:pt x="274" y="48"/>
                </a:cubicBezTo>
                <a:cubicBezTo>
                  <a:pt x="240" y="15"/>
                  <a:pt x="240" y="15"/>
                  <a:pt x="240" y="15"/>
                </a:cubicBezTo>
                <a:cubicBezTo>
                  <a:pt x="95" y="160"/>
                  <a:pt x="95" y="160"/>
                  <a:pt x="95" y="160"/>
                </a:cubicBezTo>
                <a:cubicBezTo>
                  <a:pt x="92" y="163"/>
                  <a:pt x="89" y="163"/>
                  <a:pt x="86" y="160"/>
                </a:cubicBezTo>
                <a:cubicBezTo>
                  <a:pt x="48" y="123"/>
                  <a:pt x="48" y="123"/>
                  <a:pt x="48" y="123"/>
                </a:cubicBezTo>
                <a:lnTo>
                  <a:pt x="15" y="1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2"/>
              </a:solidFill>
              <a:latin typeface="+mj-lt"/>
            </a:endParaRPr>
          </a:p>
        </p:txBody>
      </p:sp>
      <p:grpSp>
        <p:nvGrpSpPr>
          <p:cNvPr id="91" name="Group 98">
            <a:extLst>
              <a:ext uri="{FF2B5EF4-FFF2-40B4-BE49-F238E27FC236}">
                <a16:creationId xmlns:a16="http://schemas.microsoft.com/office/drawing/2014/main" id="{9AC922D9-7CEE-B448-86D3-66DA557B7FF2}"/>
              </a:ext>
            </a:extLst>
          </p:cNvPr>
          <p:cNvGrpSpPr>
            <a:grpSpLocks noChangeAspect="1"/>
          </p:cNvGrpSpPr>
          <p:nvPr userDrawn="1"/>
        </p:nvGrpSpPr>
        <p:grpSpPr bwMode="auto">
          <a:xfrm>
            <a:off x="2084826" y="5548256"/>
            <a:ext cx="448560" cy="372925"/>
            <a:chOff x="1371" y="1755"/>
            <a:chExt cx="427" cy="355"/>
          </a:xfrm>
          <a:solidFill>
            <a:schemeClr val="accent1"/>
          </a:solidFill>
        </p:grpSpPr>
        <p:sp>
          <p:nvSpPr>
            <p:cNvPr id="92" name="Freeform 99">
              <a:extLst>
                <a:ext uri="{FF2B5EF4-FFF2-40B4-BE49-F238E27FC236}">
                  <a16:creationId xmlns:a16="http://schemas.microsoft.com/office/drawing/2014/main" id="{6DD3FF56-53E8-3945-A690-6D0C81F64008}"/>
                </a:ext>
              </a:extLst>
            </p:cNvPr>
            <p:cNvSpPr>
              <a:spLocks noEditPoints="1"/>
            </p:cNvSpPr>
            <p:nvPr/>
          </p:nvSpPr>
          <p:spPr bwMode="auto">
            <a:xfrm>
              <a:off x="1371" y="1755"/>
              <a:ext cx="427" cy="355"/>
            </a:xfrm>
            <a:custGeom>
              <a:avLst/>
              <a:gdLst>
                <a:gd name="T0" fmla="*/ 282 w 288"/>
                <a:gd name="T1" fmla="*/ 240 h 240"/>
                <a:gd name="T2" fmla="*/ 6 w 288"/>
                <a:gd name="T3" fmla="*/ 240 h 240"/>
                <a:gd name="T4" fmla="*/ 0 w 288"/>
                <a:gd name="T5" fmla="*/ 234 h 240"/>
                <a:gd name="T6" fmla="*/ 0 w 288"/>
                <a:gd name="T7" fmla="*/ 6 h 240"/>
                <a:gd name="T8" fmla="*/ 6 w 288"/>
                <a:gd name="T9" fmla="*/ 0 h 240"/>
                <a:gd name="T10" fmla="*/ 282 w 288"/>
                <a:gd name="T11" fmla="*/ 0 h 240"/>
                <a:gd name="T12" fmla="*/ 288 w 288"/>
                <a:gd name="T13" fmla="*/ 6 h 240"/>
                <a:gd name="T14" fmla="*/ 288 w 288"/>
                <a:gd name="T15" fmla="*/ 234 h 240"/>
                <a:gd name="T16" fmla="*/ 282 w 288"/>
                <a:gd name="T17" fmla="*/ 240 h 240"/>
                <a:gd name="T18" fmla="*/ 12 w 288"/>
                <a:gd name="T19" fmla="*/ 228 h 240"/>
                <a:gd name="T20" fmla="*/ 276 w 288"/>
                <a:gd name="T21" fmla="*/ 228 h 240"/>
                <a:gd name="T22" fmla="*/ 276 w 288"/>
                <a:gd name="T23" fmla="*/ 12 h 240"/>
                <a:gd name="T24" fmla="*/ 12 w 288"/>
                <a:gd name="T25" fmla="*/ 12 h 240"/>
                <a:gd name="T26" fmla="*/ 12 w 288"/>
                <a:gd name="T27"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40">
                  <a:moveTo>
                    <a:pt x="282" y="240"/>
                  </a:moveTo>
                  <a:cubicBezTo>
                    <a:pt x="6" y="240"/>
                    <a:pt x="6" y="240"/>
                    <a:pt x="6" y="240"/>
                  </a:cubicBezTo>
                  <a:cubicBezTo>
                    <a:pt x="3" y="240"/>
                    <a:pt x="0" y="237"/>
                    <a:pt x="0" y="234"/>
                  </a:cubicBezTo>
                  <a:cubicBezTo>
                    <a:pt x="0" y="6"/>
                    <a:pt x="0" y="6"/>
                    <a:pt x="0" y="6"/>
                  </a:cubicBezTo>
                  <a:cubicBezTo>
                    <a:pt x="0" y="3"/>
                    <a:pt x="3" y="0"/>
                    <a:pt x="6" y="0"/>
                  </a:cubicBezTo>
                  <a:cubicBezTo>
                    <a:pt x="282" y="0"/>
                    <a:pt x="282" y="0"/>
                    <a:pt x="282" y="0"/>
                  </a:cubicBezTo>
                  <a:cubicBezTo>
                    <a:pt x="285" y="0"/>
                    <a:pt x="288" y="3"/>
                    <a:pt x="288" y="6"/>
                  </a:cubicBezTo>
                  <a:cubicBezTo>
                    <a:pt x="288" y="234"/>
                    <a:pt x="288" y="234"/>
                    <a:pt x="288" y="234"/>
                  </a:cubicBezTo>
                  <a:cubicBezTo>
                    <a:pt x="288" y="237"/>
                    <a:pt x="285" y="240"/>
                    <a:pt x="282" y="240"/>
                  </a:cubicBezTo>
                  <a:close/>
                  <a:moveTo>
                    <a:pt x="12" y="228"/>
                  </a:moveTo>
                  <a:cubicBezTo>
                    <a:pt x="276" y="228"/>
                    <a:pt x="276" y="228"/>
                    <a:pt x="276" y="228"/>
                  </a:cubicBezTo>
                  <a:cubicBezTo>
                    <a:pt x="276" y="12"/>
                    <a:pt x="276" y="12"/>
                    <a:pt x="276" y="12"/>
                  </a:cubicBezTo>
                  <a:cubicBezTo>
                    <a:pt x="12" y="12"/>
                    <a:pt x="12" y="12"/>
                    <a:pt x="12" y="12"/>
                  </a:cubicBezTo>
                  <a:lnTo>
                    <a:pt x="12"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3" name="Freeform 100">
              <a:extLst>
                <a:ext uri="{FF2B5EF4-FFF2-40B4-BE49-F238E27FC236}">
                  <a16:creationId xmlns:a16="http://schemas.microsoft.com/office/drawing/2014/main" id="{B9DD30D6-7FC5-4E4B-AA29-A488CEB79813}"/>
                </a:ext>
              </a:extLst>
            </p:cNvPr>
            <p:cNvSpPr>
              <a:spLocks/>
            </p:cNvSpPr>
            <p:nvPr/>
          </p:nvSpPr>
          <p:spPr bwMode="auto">
            <a:xfrm>
              <a:off x="1407" y="1790"/>
              <a:ext cx="71" cy="71"/>
            </a:xfrm>
            <a:custGeom>
              <a:avLst/>
              <a:gdLst>
                <a:gd name="T0" fmla="*/ 6 w 48"/>
                <a:gd name="T1" fmla="*/ 48 h 48"/>
                <a:gd name="T2" fmla="*/ 0 w 48"/>
                <a:gd name="T3" fmla="*/ 42 h 48"/>
                <a:gd name="T4" fmla="*/ 0 w 48"/>
                <a:gd name="T5" fmla="*/ 6 h 48"/>
                <a:gd name="T6" fmla="*/ 6 w 48"/>
                <a:gd name="T7" fmla="*/ 0 h 48"/>
                <a:gd name="T8" fmla="*/ 42 w 48"/>
                <a:gd name="T9" fmla="*/ 0 h 48"/>
                <a:gd name="T10" fmla="*/ 48 w 48"/>
                <a:gd name="T11" fmla="*/ 6 h 48"/>
                <a:gd name="T12" fmla="*/ 42 w 48"/>
                <a:gd name="T13" fmla="*/ 12 h 48"/>
                <a:gd name="T14" fmla="*/ 12 w 48"/>
                <a:gd name="T15" fmla="*/ 12 h 48"/>
                <a:gd name="T16" fmla="*/ 12 w 48"/>
                <a:gd name="T17" fmla="*/ 42 h 48"/>
                <a:gd name="T18" fmla="*/ 6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6" y="48"/>
                  </a:moveTo>
                  <a:cubicBezTo>
                    <a:pt x="3" y="48"/>
                    <a:pt x="0" y="45"/>
                    <a:pt x="0" y="42"/>
                  </a:cubicBezTo>
                  <a:cubicBezTo>
                    <a:pt x="0" y="6"/>
                    <a:pt x="0" y="6"/>
                    <a:pt x="0" y="6"/>
                  </a:cubicBezTo>
                  <a:cubicBezTo>
                    <a:pt x="0" y="3"/>
                    <a:pt x="3" y="0"/>
                    <a:pt x="6" y="0"/>
                  </a:cubicBezTo>
                  <a:cubicBezTo>
                    <a:pt x="42" y="0"/>
                    <a:pt x="42" y="0"/>
                    <a:pt x="42" y="0"/>
                  </a:cubicBezTo>
                  <a:cubicBezTo>
                    <a:pt x="45" y="0"/>
                    <a:pt x="48" y="3"/>
                    <a:pt x="48" y="6"/>
                  </a:cubicBezTo>
                  <a:cubicBezTo>
                    <a:pt x="48" y="9"/>
                    <a:pt x="45" y="12"/>
                    <a:pt x="42" y="12"/>
                  </a:cubicBezTo>
                  <a:cubicBezTo>
                    <a:pt x="12" y="12"/>
                    <a:pt x="12" y="12"/>
                    <a:pt x="12" y="12"/>
                  </a:cubicBezTo>
                  <a:cubicBezTo>
                    <a:pt x="12" y="42"/>
                    <a:pt x="12" y="42"/>
                    <a:pt x="12" y="42"/>
                  </a:cubicBezTo>
                  <a:cubicBezTo>
                    <a:pt x="12" y="45"/>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4" name="Freeform 101">
              <a:extLst>
                <a:ext uri="{FF2B5EF4-FFF2-40B4-BE49-F238E27FC236}">
                  <a16:creationId xmlns:a16="http://schemas.microsoft.com/office/drawing/2014/main" id="{B598F935-A581-034B-89D4-127294ECEFE4}"/>
                </a:ext>
              </a:extLst>
            </p:cNvPr>
            <p:cNvSpPr>
              <a:spLocks/>
            </p:cNvSpPr>
            <p:nvPr/>
          </p:nvSpPr>
          <p:spPr bwMode="auto">
            <a:xfrm>
              <a:off x="1691" y="1790"/>
              <a:ext cx="71" cy="71"/>
            </a:xfrm>
            <a:custGeom>
              <a:avLst/>
              <a:gdLst>
                <a:gd name="T0" fmla="*/ 42 w 48"/>
                <a:gd name="T1" fmla="*/ 48 h 48"/>
                <a:gd name="T2" fmla="*/ 36 w 48"/>
                <a:gd name="T3" fmla="*/ 42 h 48"/>
                <a:gd name="T4" fmla="*/ 36 w 48"/>
                <a:gd name="T5" fmla="*/ 12 h 48"/>
                <a:gd name="T6" fmla="*/ 6 w 48"/>
                <a:gd name="T7" fmla="*/ 12 h 48"/>
                <a:gd name="T8" fmla="*/ 0 w 48"/>
                <a:gd name="T9" fmla="*/ 6 h 48"/>
                <a:gd name="T10" fmla="*/ 6 w 48"/>
                <a:gd name="T11" fmla="*/ 0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39" y="48"/>
                    <a:pt x="36" y="45"/>
                    <a:pt x="36" y="42"/>
                  </a:cubicBezTo>
                  <a:cubicBezTo>
                    <a:pt x="36" y="12"/>
                    <a:pt x="36" y="12"/>
                    <a:pt x="36" y="12"/>
                  </a:cubicBez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5" name="Freeform 102">
              <a:extLst>
                <a:ext uri="{FF2B5EF4-FFF2-40B4-BE49-F238E27FC236}">
                  <a16:creationId xmlns:a16="http://schemas.microsoft.com/office/drawing/2014/main" id="{24EC5BA8-8063-3241-A2BA-5D3F0C810EF9}"/>
                </a:ext>
              </a:extLst>
            </p:cNvPr>
            <p:cNvSpPr>
              <a:spLocks/>
            </p:cNvSpPr>
            <p:nvPr/>
          </p:nvSpPr>
          <p:spPr bwMode="auto">
            <a:xfrm>
              <a:off x="1407" y="2004"/>
              <a:ext cx="71" cy="71"/>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12 w 48"/>
                <a:gd name="T11" fmla="*/ 6 h 48"/>
                <a:gd name="T12" fmla="*/ 12 w 48"/>
                <a:gd name="T13" fmla="*/ 36 h 48"/>
                <a:gd name="T14" fmla="*/ 42 w 48"/>
                <a:gd name="T15" fmla="*/ 3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6"/>
                    <a:pt x="0" y="6"/>
                    <a:pt x="0" y="6"/>
                  </a:cubicBezTo>
                  <a:cubicBezTo>
                    <a:pt x="0" y="3"/>
                    <a:pt x="3" y="0"/>
                    <a:pt x="6" y="0"/>
                  </a:cubicBezTo>
                  <a:cubicBezTo>
                    <a:pt x="9" y="0"/>
                    <a:pt x="12" y="3"/>
                    <a:pt x="12" y="6"/>
                  </a:cubicBezTo>
                  <a:cubicBezTo>
                    <a:pt x="12" y="36"/>
                    <a:pt x="12" y="36"/>
                    <a:pt x="12" y="36"/>
                  </a:cubicBezTo>
                  <a:cubicBezTo>
                    <a:pt x="42" y="36"/>
                    <a:pt x="42" y="36"/>
                    <a:pt x="42" y="36"/>
                  </a:cubicBezTo>
                  <a:cubicBezTo>
                    <a:pt x="45" y="36"/>
                    <a:pt x="48" y="39"/>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6" name="Freeform 103">
              <a:extLst>
                <a:ext uri="{FF2B5EF4-FFF2-40B4-BE49-F238E27FC236}">
                  <a16:creationId xmlns:a16="http://schemas.microsoft.com/office/drawing/2014/main" id="{CF8C2DB6-381F-254A-B48E-15AFF4C7C781}"/>
                </a:ext>
              </a:extLst>
            </p:cNvPr>
            <p:cNvSpPr>
              <a:spLocks/>
            </p:cNvSpPr>
            <p:nvPr/>
          </p:nvSpPr>
          <p:spPr bwMode="auto">
            <a:xfrm>
              <a:off x="1691" y="2004"/>
              <a:ext cx="71" cy="71"/>
            </a:xfrm>
            <a:custGeom>
              <a:avLst/>
              <a:gdLst>
                <a:gd name="T0" fmla="*/ 42 w 48"/>
                <a:gd name="T1" fmla="*/ 48 h 48"/>
                <a:gd name="T2" fmla="*/ 6 w 48"/>
                <a:gd name="T3" fmla="*/ 48 h 48"/>
                <a:gd name="T4" fmla="*/ 0 w 48"/>
                <a:gd name="T5" fmla="*/ 42 h 48"/>
                <a:gd name="T6" fmla="*/ 6 w 48"/>
                <a:gd name="T7" fmla="*/ 36 h 48"/>
                <a:gd name="T8" fmla="*/ 36 w 48"/>
                <a:gd name="T9" fmla="*/ 36 h 48"/>
                <a:gd name="T10" fmla="*/ 36 w 48"/>
                <a:gd name="T11" fmla="*/ 6 h 48"/>
                <a:gd name="T12" fmla="*/ 42 w 48"/>
                <a:gd name="T13" fmla="*/ 0 h 48"/>
                <a:gd name="T14" fmla="*/ 48 w 48"/>
                <a:gd name="T15" fmla="*/ 6 h 48"/>
                <a:gd name="T16" fmla="*/ 48 w 48"/>
                <a:gd name="T17" fmla="*/ 42 h 48"/>
                <a:gd name="T18" fmla="*/ 42 w 48"/>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2" y="48"/>
                  </a:moveTo>
                  <a:cubicBezTo>
                    <a:pt x="6" y="48"/>
                    <a:pt x="6" y="48"/>
                    <a:pt x="6" y="48"/>
                  </a:cubicBezTo>
                  <a:cubicBezTo>
                    <a:pt x="3" y="48"/>
                    <a:pt x="0" y="45"/>
                    <a:pt x="0" y="42"/>
                  </a:cubicBezTo>
                  <a:cubicBezTo>
                    <a:pt x="0" y="39"/>
                    <a:pt x="3" y="36"/>
                    <a:pt x="6" y="36"/>
                  </a:cubicBezTo>
                  <a:cubicBezTo>
                    <a:pt x="36" y="36"/>
                    <a:pt x="36" y="36"/>
                    <a:pt x="36" y="36"/>
                  </a:cubicBezTo>
                  <a:cubicBezTo>
                    <a:pt x="36" y="6"/>
                    <a:pt x="36" y="6"/>
                    <a:pt x="36" y="6"/>
                  </a:cubicBezTo>
                  <a:cubicBezTo>
                    <a:pt x="36" y="3"/>
                    <a:pt x="39" y="0"/>
                    <a:pt x="42" y="0"/>
                  </a:cubicBezTo>
                  <a:cubicBezTo>
                    <a:pt x="45" y="0"/>
                    <a:pt x="48" y="3"/>
                    <a:pt x="48" y="6"/>
                  </a:cubicBezTo>
                  <a:cubicBezTo>
                    <a:pt x="48" y="42"/>
                    <a:pt x="48" y="42"/>
                    <a:pt x="48" y="42"/>
                  </a:cubicBezTo>
                  <a:cubicBezTo>
                    <a:pt x="48" y="45"/>
                    <a:pt x="45" y="48"/>
                    <a:pt x="4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7" name="Freeform 104">
              <a:extLst>
                <a:ext uri="{FF2B5EF4-FFF2-40B4-BE49-F238E27FC236}">
                  <a16:creationId xmlns:a16="http://schemas.microsoft.com/office/drawing/2014/main" id="{0667E557-C3C5-454F-BFFD-0892A85D1147}"/>
                </a:ext>
              </a:extLst>
            </p:cNvPr>
            <p:cNvSpPr>
              <a:spLocks noEditPoints="1"/>
            </p:cNvSpPr>
            <p:nvPr/>
          </p:nvSpPr>
          <p:spPr bwMode="auto">
            <a:xfrm>
              <a:off x="1441" y="1844"/>
              <a:ext cx="286" cy="177"/>
            </a:xfrm>
            <a:custGeom>
              <a:avLst/>
              <a:gdLst>
                <a:gd name="T0" fmla="*/ 97 w 193"/>
                <a:gd name="T1" fmla="*/ 120 h 120"/>
                <a:gd name="T2" fmla="*/ 2 w 193"/>
                <a:gd name="T3" fmla="*/ 64 h 120"/>
                <a:gd name="T4" fmla="*/ 2 w 193"/>
                <a:gd name="T5" fmla="*/ 56 h 120"/>
                <a:gd name="T6" fmla="*/ 97 w 193"/>
                <a:gd name="T7" fmla="*/ 0 h 120"/>
                <a:gd name="T8" fmla="*/ 191 w 193"/>
                <a:gd name="T9" fmla="*/ 56 h 120"/>
                <a:gd name="T10" fmla="*/ 191 w 193"/>
                <a:gd name="T11" fmla="*/ 64 h 120"/>
                <a:gd name="T12" fmla="*/ 97 w 193"/>
                <a:gd name="T13" fmla="*/ 120 h 120"/>
                <a:gd name="T14" fmla="*/ 15 w 193"/>
                <a:gd name="T15" fmla="*/ 60 h 120"/>
                <a:gd name="T16" fmla="*/ 97 w 193"/>
                <a:gd name="T17" fmla="*/ 108 h 120"/>
                <a:gd name="T18" fmla="*/ 179 w 193"/>
                <a:gd name="T19" fmla="*/ 60 h 120"/>
                <a:gd name="T20" fmla="*/ 97 w 193"/>
                <a:gd name="T21" fmla="*/ 12 h 120"/>
                <a:gd name="T22" fmla="*/ 15 w 193"/>
                <a:gd name="T23"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20">
                  <a:moveTo>
                    <a:pt x="97" y="120"/>
                  </a:moveTo>
                  <a:cubicBezTo>
                    <a:pt x="53" y="120"/>
                    <a:pt x="4" y="66"/>
                    <a:pt x="2" y="64"/>
                  </a:cubicBezTo>
                  <a:cubicBezTo>
                    <a:pt x="0" y="62"/>
                    <a:pt x="0" y="58"/>
                    <a:pt x="2" y="56"/>
                  </a:cubicBezTo>
                  <a:cubicBezTo>
                    <a:pt x="4" y="54"/>
                    <a:pt x="53" y="0"/>
                    <a:pt x="97" y="0"/>
                  </a:cubicBezTo>
                  <a:cubicBezTo>
                    <a:pt x="141" y="0"/>
                    <a:pt x="189" y="54"/>
                    <a:pt x="191" y="56"/>
                  </a:cubicBezTo>
                  <a:cubicBezTo>
                    <a:pt x="193" y="58"/>
                    <a:pt x="193" y="62"/>
                    <a:pt x="191" y="64"/>
                  </a:cubicBezTo>
                  <a:cubicBezTo>
                    <a:pt x="189" y="66"/>
                    <a:pt x="141" y="120"/>
                    <a:pt x="97" y="120"/>
                  </a:cubicBezTo>
                  <a:close/>
                  <a:moveTo>
                    <a:pt x="15" y="60"/>
                  </a:moveTo>
                  <a:cubicBezTo>
                    <a:pt x="27" y="72"/>
                    <a:pt x="64" y="108"/>
                    <a:pt x="97" y="108"/>
                  </a:cubicBezTo>
                  <a:cubicBezTo>
                    <a:pt x="129" y="108"/>
                    <a:pt x="167" y="72"/>
                    <a:pt x="179" y="60"/>
                  </a:cubicBezTo>
                  <a:cubicBezTo>
                    <a:pt x="167" y="48"/>
                    <a:pt x="129" y="12"/>
                    <a:pt x="97" y="12"/>
                  </a:cubicBezTo>
                  <a:cubicBezTo>
                    <a:pt x="64" y="12"/>
                    <a:pt x="27" y="48"/>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8" name="Freeform 105">
              <a:extLst>
                <a:ext uri="{FF2B5EF4-FFF2-40B4-BE49-F238E27FC236}">
                  <a16:creationId xmlns:a16="http://schemas.microsoft.com/office/drawing/2014/main" id="{3BB22AA7-DF3C-C443-90C8-1FB2B5423AB0}"/>
                </a:ext>
              </a:extLst>
            </p:cNvPr>
            <p:cNvSpPr>
              <a:spLocks noEditPoints="1"/>
            </p:cNvSpPr>
            <p:nvPr/>
          </p:nvSpPr>
          <p:spPr bwMode="auto">
            <a:xfrm>
              <a:off x="1531" y="1879"/>
              <a:ext cx="107"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99" name="Oval 106">
              <a:extLst>
                <a:ext uri="{FF2B5EF4-FFF2-40B4-BE49-F238E27FC236}">
                  <a16:creationId xmlns:a16="http://schemas.microsoft.com/office/drawing/2014/main" id="{840F5257-5088-364D-878D-3C2254FB2EC8}"/>
                </a:ext>
              </a:extLst>
            </p:cNvPr>
            <p:cNvSpPr>
              <a:spLocks noChangeArrowheads="1"/>
            </p:cNvSpPr>
            <p:nvPr/>
          </p:nvSpPr>
          <p:spPr bwMode="auto">
            <a:xfrm>
              <a:off x="1567" y="1915"/>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11" name="Group 41">
            <a:extLst>
              <a:ext uri="{FF2B5EF4-FFF2-40B4-BE49-F238E27FC236}">
                <a16:creationId xmlns:a16="http://schemas.microsoft.com/office/drawing/2014/main" id="{CAE15CC3-F3B0-4346-93C0-B55CF2674050}"/>
              </a:ext>
            </a:extLst>
          </p:cNvPr>
          <p:cNvGrpSpPr>
            <a:grpSpLocks noChangeAspect="1"/>
          </p:cNvGrpSpPr>
          <p:nvPr userDrawn="1"/>
        </p:nvGrpSpPr>
        <p:grpSpPr bwMode="auto">
          <a:xfrm>
            <a:off x="9695631" y="5524348"/>
            <a:ext cx="459581" cy="420743"/>
            <a:chOff x="3439" y="460"/>
            <a:chExt cx="426" cy="390"/>
          </a:xfrm>
          <a:solidFill>
            <a:schemeClr val="accent1"/>
          </a:solidFill>
        </p:grpSpPr>
        <p:sp>
          <p:nvSpPr>
            <p:cNvPr id="112" name="Freeform 42">
              <a:extLst>
                <a:ext uri="{FF2B5EF4-FFF2-40B4-BE49-F238E27FC236}">
                  <a16:creationId xmlns:a16="http://schemas.microsoft.com/office/drawing/2014/main" id="{FC866253-99F8-F940-8BD2-B8A0B5BABFB5}"/>
                </a:ext>
              </a:extLst>
            </p:cNvPr>
            <p:cNvSpPr>
              <a:spLocks noEditPoints="1"/>
            </p:cNvSpPr>
            <p:nvPr/>
          </p:nvSpPr>
          <p:spPr bwMode="auto">
            <a:xfrm>
              <a:off x="3439" y="584"/>
              <a:ext cx="426" cy="266"/>
            </a:xfrm>
            <a:custGeom>
              <a:avLst/>
              <a:gdLst>
                <a:gd name="T0" fmla="*/ 265 w 288"/>
                <a:gd name="T1" fmla="*/ 180 h 180"/>
                <a:gd name="T2" fmla="*/ 23 w 288"/>
                <a:gd name="T3" fmla="*/ 180 h 180"/>
                <a:gd name="T4" fmla="*/ 0 w 288"/>
                <a:gd name="T5" fmla="*/ 157 h 180"/>
                <a:gd name="T6" fmla="*/ 0 w 288"/>
                <a:gd name="T7" fmla="*/ 6 h 180"/>
                <a:gd name="T8" fmla="*/ 6 w 288"/>
                <a:gd name="T9" fmla="*/ 0 h 180"/>
                <a:gd name="T10" fmla="*/ 282 w 288"/>
                <a:gd name="T11" fmla="*/ 0 h 180"/>
                <a:gd name="T12" fmla="*/ 288 w 288"/>
                <a:gd name="T13" fmla="*/ 6 h 180"/>
                <a:gd name="T14" fmla="*/ 288 w 288"/>
                <a:gd name="T15" fmla="*/ 157 h 180"/>
                <a:gd name="T16" fmla="*/ 265 w 288"/>
                <a:gd name="T17" fmla="*/ 180 h 180"/>
                <a:gd name="T18" fmla="*/ 12 w 288"/>
                <a:gd name="T19" fmla="*/ 12 h 180"/>
                <a:gd name="T20" fmla="*/ 12 w 288"/>
                <a:gd name="T21" fmla="*/ 157 h 180"/>
                <a:gd name="T22" fmla="*/ 23 w 288"/>
                <a:gd name="T23" fmla="*/ 168 h 180"/>
                <a:gd name="T24" fmla="*/ 265 w 288"/>
                <a:gd name="T25" fmla="*/ 168 h 180"/>
                <a:gd name="T26" fmla="*/ 276 w 288"/>
                <a:gd name="T27" fmla="*/ 157 h 180"/>
                <a:gd name="T28" fmla="*/ 276 w 288"/>
                <a:gd name="T29" fmla="*/ 12 h 180"/>
                <a:gd name="T30" fmla="*/ 12 w 288"/>
                <a:gd name="T31"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80">
                  <a:moveTo>
                    <a:pt x="265" y="180"/>
                  </a:moveTo>
                  <a:cubicBezTo>
                    <a:pt x="23" y="180"/>
                    <a:pt x="23" y="180"/>
                    <a:pt x="23" y="180"/>
                  </a:cubicBezTo>
                  <a:cubicBezTo>
                    <a:pt x="10" y="180"/>
                    <a:pt x="0" y="170"/>
                    <a:pt x="0" y="157"/>
                  </a:cubicBezTo>
                  <a:cubicBezTo>
                    <a:pt x="0" y="6"/>
                    <a:pt x="0" y="6"/>
                    <a:pt x="0" y="6"/>
                  </a:cubicBezTo>
                  <a:cubicBezTo>
                    <a:pt x="0" y="3"/>
                    <a:pt x="3" y="0"/>
                    <a:pt x="6" y="0"/>
                  </a:cubicBezTo>
                  <a:cubicBezTo>
                    <a:pt x="282" y="0"/>
                    <a:pt x="282" y="0"/>
                    <a:pt x="282" y="0"/>
                  </a:cubicBezTo>
                  <a:cubicBezTo>
                    <a:pt x="285" y="0"/>
                    <a:pt x="288" y="3"/>
                    <a:pt x="288" y="6"/>
                  </a:cubicBezTo>
                  <a:cubicBezTo>
                    <a:pt x="288" y="157"/>
                    <a:pt x="288" y="157"/>
                    <a:pt x="288" y="157"/>
                  </a:cubicBezTo>
                  <a:cubicBezTo>
                    <a:pt x="288" y="170"/>
                    <a:pt x="277" y="180"/>
                    <a:pt x="265" y="180"/>
                  </a:cubicBezTo>
                  <a:close/>
                  <a:moveTo>
                    <a:pt x="12" y="12"/>
                  </a:moveTo>
                  <a:cubicBezTo>
                    <a:pt x="12" y="157"/>
                    <a:pt x="12" y="157"/>
                    <a:pt x="12" y="157"/>
                  </a:cubicBezTo>
                  <a:cubicBezTo>
                    <a:pt x="12" y="163"/>
                    <a:pt x="17" y="168"/>
                    <a:pt x="23" y="168"/>
                  </a:cubicBezTo>
                  <a:cubicBezTo>
                    <a:pt x="265" y="168"/>
                    <a:pt x="265" y="168"/>
                    <a:pt x="265" y="168"/>
                  </a:cubicBezTo>
                  <a:cubicBezTo>
                    <a:pt x="271" y="168"/>
                    <a:pt x="276" y="163"/>
                    <a:pt x="276" y="157"/>
                  </a:cubicBezTo>
                  <a:cubicBezTo>
                    <a:pt x="276" y="12"/>
                    <a:pt x="276" y="12"/>
                    <a:pt x="276"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3" name="Freeform 43">
              <a:extLst>
                <a:ext uri="{FF2B5EF4-FFF2-40B4-BE49-F238E27FC236}">
                  <a16:creationId xmlns:a16="http://schemas.microsoft.com/office/drawing/2014/main" id="{DAD71534-CAEB-4342-9B3B-ACB93687E4EC}"/>
                </a:ext>
              </a:extLst>
            </p:cNvPr>
            <p:cNvSpPr>
              <a:spLocks noEditPoints="1"/>
            </p:cNvSpPr>
            <p:nvPr/>
          </p:nvSpPr>
          <p:spPr bwMode="auto">
            <a:xfrm>
              <a:off x="3581" y="637"/>
              <a:ext cx="160" cy="160"/>
            </a:xfrm>
            <a:custGeom>
              <a:avLst/>
              <a:gdLst>
                <a:gd name="T0" fmla="*/ 6 w 108"/>
                <a:gd name="T1" fmla="*/ 108 h 108"/>
                <a:gd name="T2" fmla="*/ 3 w 108"/>
                <a:gd name="T3" fmla="*/ 107 h 108"/>
                <a:gd name="T4" fmla="*/ 0 w 108"/>
                <a:gd name="T5" fmla="*/ 102 h 108"/>
                <a:gd name="T6" fmla="*/ 0 w 108"/>
                <a:gd name="T7" fmla="*/ 6 h 108"/>
                <a:gd name="T8" fmla="*/ 3 w 108"/>
                <a:gd name="T9" fmla="*/ 1 h 108"/>
                <a:gd name="T10" fmla="*/ 9 w 108"/>
                <a:gd name="T11" fmla="*/ 1 h 108"/>
                <a:gd name="T12" fmla="*/ 105 w 108"/>
                <a:gd name="T13" fmla="*/ 49 h 108"/>
                <a:gd name="T14" fmla="*/ 108 w 108"/>
                <a:gd name="T15" fmla="*/ 54 h 108"/>
                <a:gd name="T16" fmla="*/ 105 w 108"/>
                <a:gd name="T17" fmla="*/ 60 h 108"/>
                <a:gd name="T18" fmla="*/ 9 w 108"/>
                <a:gd name="T19" fmla="*/ 108 h 108"/>
                <a:gd name="T20" fmla="*/ 6 w 108"/>
                <a:gd name="T21" fmla="*/ 108 h 108"/>
                <a:gd name="T22" fmla="*/ 12 w 108"/>
                <a:gd name="T23" fmla="*/ 16 h 108"/>
                <a:gd name="T24" fmla="*/ 12 w 108"/>
                <a:gd name="T25" fmla="*/ 93 h 108"/>
                <a:gd name="T26" fmla="*/ 88 w 108"/>
                <a:gd name="T27" fmla="*/ 54 h 108"/>
                <a:gd name="T28" fmla="*/ 12 w 108"/>
                <a:gd name="T29"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6" y="108"/>
                  </a:moveTo>
                  <a:cubicBezTo>
                    <a:pt x="5" y="108"/>
                    <a:pt x="4" y="108"/>
                    <a:pt x="3" y="107"/>
                  </a:cubicBezTo>
                  <a:cubicBezTo>
                    <a:pt x="1" y="106"/>
                    <a:pt x="0" y="104"/>
                    <a:pt x="0" y="102"/>
                  </a:cubicBezTo>
                  <a:cubicBezTo>
                    <a:pt x="0" y="6"/>
                    <a:pt x="0" y="6"/>
                    <a:pt x="0" y="6"/>
                  </a:cubicBezTo>
                  <a:cubicBezTo>
                    <a:pt x="0" y="4"/>
                    <a:pt x="1" y="2"/>
                    <a:pt x="3" y="1"/>
                  </a:cubicBezTo>
                  <a:cubicBezTo>
                    <a:pt x="4" y="0"/>
                    <a:pt x="7" y="0"/>
                    <a:pt x="9" y="1"/>
                  </a:cubicBezTo>
                  <a:cubicBezTo>
                    <a:pt x="105" y="49"/>
                    <a:pt x="105" y="49"/>
                    <a:pt x="105" y="49"/>
                  </a:cubicBezTo>
                  <a:cubicBezTo>
                    <a:pt x="107" y="50"/>
                    <a:pt x="108" y="52"/>
                    <a:pt x="108" y="54"/>
                  </a:cubicBezTo>
                  <a:cubicBezTo>
                    <a:pt x="108" y="57"/>
                    <a:pt x="107" y="59"/>
                    <a:pt x="105" y="60"/>
                  </a:cubicBezTo>
                  <a:cubicBezTo>
                    <a:pt x="9" y="108"/>
                    <a:pt x="9" y="108"/>
                    <a:pt x="9" y="108"/>
                  </a:cubicBezTo>
                  <a:cubicBezTo>
                    <a:pt x="8" y="108"/>
                    <a:pt x="7" y="108"/>
                    <a:pt x="6" y="108"/>
                  </a:cubicBezTo>
                  <a:close/>
                  <a:moveTo>
                    <a:pt x="12" y="16"/>
                  </a:moveTo>
                  <a:cubicBezTo>
                    <a:pt x="12" y="93"/>
                    <a:pt x="12" y="93"/>
                    <a:pt x="12" y="93"/>
                  </a:cubicBezTo>
                  <a:cubicBezTo>
                    <a:pt x="88" y="54"/>
                    <a:pt x="88" y="54"/>
                    <a:pt x="88" y="54"/>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4" name="Freeform 44">
              <a:extLst>
                <a:ext uri="{FF2B5EF4-FFF2-40B4-BE49-F238E27FC236}">
                  <a16:creationId xmlns:a16="http://schemas.microsoft.com/office/drawing/2014/main" id="{69604E24-F016-194E-9E2B-1ACF8EBA526D}"/>
                </a:ext>
              </a:extLst>
            </p:cNvPr>
            <p:cNvSpPr>
              <a:spLocks noEditPoints="1"/>
            </p:cNvSpPr>
            <p:nvPr/>
          </p:nvSpPr>
          <p:spPr bwMode="auto">
            <a:xfrm>
              <a:off x="3439" y="460"/>
              <a:ext cx="426" cy="106"/>
            </a:xfrm>
            <a:custGeom>
              <a:avLst/>
              <a:gdLst>
                <a:gd name="T0" fmla="*/ 282 w 288"/>
                <a:gd name="T1" fmla="*/ 72 h 72"/>
                <a:gd name="T2" fmla="*/ 6 w 288"/>
                <a:gd name="T3" fmla="*/ 72 h 72"/>
                <a:gd name="T4" fmla="*/ 0 w 288"/>
                <a:gd name="T5" fmla="*/ 66 h 72"/>
                <a:gd name="T6" fmla="*/ 0 w 288"/>
                <a:gd name="T7" fmla="*/ 18 h 72"/>
                <a:gd name="T8" fmla="*/ 18 w 288"/>
                <a:gd name="T9" fmla="*/ 0 h 72"/>
                <a:gd name="T10" fmla="*/ 270 w 288"/>
                <a:gd name="T11" fmla="*/ 0 h 72"/>
                <a:gd name="T12" fmla="*/ 288 w 288"/>
                <a:gd name="T13" fmla="*/ 18 h 72"/>
                <a:gd name="T14" fmla="*/ 288 w 288"/>
                <a:gd name="T15" fmla="*/ 66 h 72"/>
                <a:gd name="T16" fmla="*/ 282 w 288"/>
                <a:gd name="T17" fmla="*/ 72 h 72"/>
                <a:gd name="T18" fmla="*/ 12 w 288"/>
                <a:gd name="T19" fmla="*/ 60 h 72"/>
                <a:gd name="T20" fmla="*/ 276 w 288"/>
                <a:gd name="T21" fmla="*/ 60 h 72"/>
                <a:gd name="T22" fmla="*/ 276 w 288"/>
                <a:gd name="T23" fmla="*/ 18 h 72"/>
                <a:gd name="T24" fmla="*/ 270 w 288"/>
                <a:gd name="T25" fmla="*/ 12 h 72"/>
                <a:gd name="T26" fmla="*/ 18 w 288"/>
                <a:gd name="T27" fmla="*/ 12 h 72"/>
                <a:gd name="T28" fmla="*/ 12 w 288"/>
                <a:gd name="T29" fmla="*/ 18 h 72"/>
                <a:gd name="T30" fmla="*/ 12 w 288"/>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72">
                  <a:moveTo>
                    <a:pt x="282" y="72"/>
                  </a:moveTo>
                  <a:cubicBezTo>
                    <a:pt x="6" y="72"/>
                    <a:pt x="6" y="72"/>
                    <a:pt x="6" y="72"/>
                  </a:cubicBezTo>
                  <a:cubicBezTo>
                    <a:pt x="3" y="72"/>
                    <a:pt x="0" y="70"/>
                    <a:pt x="0" y="66"/>
                  </a:cubicBezTo>
                  <a:cubicBezTo>
                    <a:pt x="0" y="18"/>
                    <a:pt x="0" y="18"/>
                    <a:pt x="0" y="18"/>
                  </a:cubicBezTo>
                  <a:cubicBezTo>
                    <a:pt x="0" y="8"/>
                    <a:pt x="8" y="0"/>
                    <a:pt x="18" y="0"/>
                  </a:cubicBezTo>
                  <a:cubicBezTo>
                    <a:pt x="270" y="0"/>
                    <a:pt x="270" y="0"/>
                    <a:pt x="270" y="0"/>
                  </a:cubicBezTo>
                  <a:cubicBezTo>
                    <a:pt x="280" y="0"/>
                    <a:pt x="288" y="8"/>
                    <a:pt x="288" y="18"/>
                  </a:cubicBezTo>
                  <a:cubicBezTo>
                    <a:pt x="288" y="66"/>
                    <a:pt x="288" y="66"/>
                    <a:pt x="288" y="66"/>
                  </a:cubicBezTo>
                  <a:cubicBezTo>
                    <a:pt x="288" y="70"/>
                    <a:pt x="285" y="72"/>
                    <a:pt x="282" y="72"/>
                  </a:cubicBezTo>
                  <a:close/>
                  <a:moveTo>
                    <a:pt x="12" y="60"/>
                  </a:moveTo>
                  <a:cubicBezTo>
                    <a:pt x="276" y="60"/>
                    <a:pt x="276" y="60"/>
                    <a:pt x="276" y="60"/>
                  </a:cubicBezTo>
                  <a:cubicBezTo>
                    <a:pt x="276" y="18"/>
                    <a:pt x="276" y="18"/>
                    <a:pt x="276" y="18"/>
                  </a:cubicBezTo>
                  <a:cubicBezTo>
                    <a:pt x="276" y="15"/>
                    <a:pt x="273" y="12"/>
                    <a:pt x="270" y="12"/>
                  </a:cubicBezTo>
                  <a:cubicBezTo>
                    <a:pt x="18" y="12"/>
                    <a:pt x="18" y="12"/>
                    <a:pt x="18" y="12"/>
                  </a:cubicBezTo>
                  <a:cubicBezTo>
                    <a:pt x="15" y="12"/>
                    <a:pt x="12" y="15"/>
                    <a:pt x="12" y="18"/>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5" name="Freeform 45">
              <a:extLst>
                <a:ext uri="{FF2B5EF4-FFF2-40B4-BE49-F238E27FC236}">
                  <a16:creationId xmlns:a16="http://schemas.microsoft.com/office/drawing/2014/main" id="{0272F795-CB5C-EC40-AB73-8271C831B7E3}"/>
                </a:ext>
              </a:extLst>
            </p:cNvPr>
            <p:cNvSpPr>
              <a:spLocks/>
            </p:cNvSpPr>
            <p:nvPr/>
          </p:nvSpPr>
          <p:spPr bwMode="auto">
            <a:xfrm>
              <a:off x="3442" y="463"/>
              <a:ext cx="92" cy="91"/>
            </a:xfrm>
            <a:custGeom>
              <a:avLst/>
              <a:gdLst>
                <a:gd name="T0" fmla="*/ 12 w 92"/>
                <a:gd name="T1" fmla="*/ 91 h 91"/>
                <a:gd name="T2" fmla="*/ 0 w 92"/>
                <a:gd name="T3" fmla="*/ 80 h 91"/>
                <a:gd name="T4" fmla="*/ 80 w 92"/>
                <a:gd name="T5" fmla="*/ 0 h 91"/>
                <a:gd name="T6" fmla="*/ 92 w 92"/>
                <a:gd name="T7" fmla="*/ 11 h 91"/>
                <a:gd name="T8" fmla="*/ 12 w 92"/>
                <a:gd name="T9" fmla="*/ 91 h 91"/>
              </a:gdLst>
              <a:ahLst/>
              <a:cxnLst>
                <a:cxn ang="0">
                  <a:pos x="T0" y="T1"/>
                </a:cxn>
                <a:cxn ang="0">
                  <a:pos x="T2" y="T3"/>
                </a:cxn>
                <a:cxn ang="0">
                  <a:pos x="T4" y="T5"/>
                </a:cxn>
                <a:cxn ang="0">
                  <a:pos x="T6" y="T7"/>
                </a:cxn>
                <a:cxn ang="0">
                  <a:pos x="T8" y="T9"/>
                </a:cxn>
              </a:cxnLst>
              <a:rect l="0" t="0" r="r" b="b"/>
              <a:pathLst>
                <a:path w="92" h="91">
                  <a:moveTo>
                    <a:pt x="12" y="91"/>
                  </a:moveTo>
                  <a:lnTo>
                    <a:pt x="0" y="80"/>
                  </a:lnTo>
                  <a:lnTo>
                    <a:pt x="80" y="0"/>
                  </a:lnTo>
                  <a:lnTo>
                    <a:pt x="92" y="11"/>
                  </a:lnTo>
                  <a:lnTo>
                    <a:pt x="12"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6" name="Freeform 46">
              <a:extLst>
                <a:ext uri="{FF2B5EF4-FFF2-40B4-BE49-F238E27FC236}">
                  <a16:creationId xmlns:a16="http://schemas.microsoft.com/office/drawing/2014/main" id="{58894E59-5B8C-E746-BE36-282800DC218E}"/>
                </a:ext>
              </a:extLst>
            </p:cNvPr>
            <p:cNvSpPr>
              <a:spLocks/>
            </p:cNvSpPr>
            <p:nvPr/>
          </p:nvSpPr>
          <p:spPr bwMode="auto">
            <a:xfrm>
              <a:off x="3495"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7" name="Freeform 47">
              <a:extLst>
                <a:ext uri="{FF2B5EF4-FFF2-40B4-BE49-F238E27FC236}">
                  <a16:creationId xmlns:a16="http://schemas.microsoft.com/office/drawing/2014/main" id="{89C3B5C2-0698-134A-8C5B-F8C984B3D30A}"/>
                </a:ext>
              </a:extLst>
            </p:cNvPr>
            <p:cNvSpPr>
              <a:spLocks/>
            </p:cNvSpPr>
            <p:nvPr/>
          </p:nvSpPr>
          <p:spPr bwMode="auto">
            <a:xfrm>
              <a:off x="3566"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8" name="Freeform 48">
              <a:extLst>
                <a:ext uri="{FF2B5EF4-FFF2-40B4-BE49-F238E27FC236}">
                  <a16:creationId xmlns:a16="http://schemas.microsoft.com/office/drawing/2014/main" id="{98ED0FAF-2170-CC4B-893D-B4DFEB1E987B}"/>
                </a:ext>
              </a:extLst>
            </p:cNvPr>
            <p:cNvSpPr>
              <a:spLocks/>
            </p:cNvSpPr>
            <p:nvPr/>
          </p:nvSpPr>
          <p:spPr bwMode="auto">
            <a:xfrm>
              <a:off x="3637" y="463"/>
              <a:ext cx="101" cy="102"/>
            </a:xfrm>
            <a:custGeom>
              <a:avLst/>
              <a:gdLst>
                <a:gd name="T0" fmla="*/ 12 w 101"/>
                <a:gd name="T1" fmla="*/ 102 h 102"/>
                <a:gd name="T2" fmla="*/ 0 w 101"/>
                <a:gd name="T3" fmla="*/ 88 h 102"/>
                <a:gd name="T4" fmla="*/ 89 w 101"/>
                <a:gd name="T5" fmla="*/ 0 h 102"/>
                <a:gd name="T6" fmla="*/ 101 w 101"/>
                <a:gd name="T7" fmla="*/ 11 h 102"/>
                <a:gd name="T8" fmla="*/ 12 w 101"/>
                <a:gd name="T9" fmla="*/ 102 h 102"/>
              </a:gdLst>
              <a:ahLst/>
              <a:cxnLst>
                <a:cxn ang="0">
                  <a:pos x="T0" y="T1"/>
                </a:cxn>
                <a:cxn ang="0">
                  <a:pos x="T2" y="T3"/>
                </a:cxn>
                <a:cxn ang="0">
                  <a:pos x="T4" y="T5"/>
                </a:cxn>
                <a:cxn ang="0">
                  <a:pos x="T6" y="T7"/>
                </a:cxn>
                <a:cxn ang="0">
                  <a:pos x="T8" y="T9"/>
                </a:cxn>
              </a:cxnLst>
              <a:rect l="0" t="0" r="r" b="b"/>
              <a:pathLst>
                <a:path w="101" h="102">
                  <a:moveTo>
                    <a:pt x="12" y="102"/>
                  </a:moveTo>
                  <a:lnTo>
                    <a:pt x="0" y="88"/>
                  </a:lnTo>
                  <a:lnTo>
                    <a:pt x="89" y="0"/>
                  </a:lnTo>
                  <a:lnTo>
                    <a:pt x="101" y="11"/>
                  </a:lnTo>
                  <a:lnTo>
                    <a:pt x="1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19" name="Freeform 49">
              <a:extLst>
                <a:ext uri="{FF2B5EF4-FFF2-40B4-BE49-F238E27FC236}">
                  <a16:creationId xmlns:a16="http://schemas.microsoft.com/office/drawing/2014/main" id="{E93B3885-01CD-824B-9BBD-D9A7BC873F3E}"/>
                </a:ext>
              </a:extLst>
            </p:cNvPr>
            <p:cNvSpPr>
              <a:spLocks/>
            </p:cNvSpPr>
            <p:nvPr/>
          </p:nvSpPr>
          <p:spPr bwMode="auto">
            <a:xfrm>
              <a:off x="3708" y="463"/>
              <a:ext cx="100" cy="100"/>
            </a:xfrm>
            <a:custGeom>
              <a:avLst/>
              <a:gdLst>
                <a:gd name="T0" fmla="*/ 12 w 100"/>
                <a:gd name="T1" fmla="*/ 100 h 100"/>
                <a:gd name="T2" fmla="*/ 0 w 100"/>
                <a:gd name="T3" fmla="*/ 88 h 100"/>
                <a:gd name="T4" fmla="*/ 89 w 100"/>
                <a:gd name="T5" fmla="*/ 0 h 100"/>
                <a:gd name="T6" fmla="*/ 100 w 100"/>
                <a:gd name="T7" fmla="*/ 11 h 100"/>
                <a:gd name="T8" fmla="*/ 12 w 100"/>
                <a:gd name="T9" fmla="*/ 100 h 100"/>
              </a:gdLst>
              <a:ahLst/>
              <a:cxnLst>
                <a:cxn ang="0">
                  <a:pos x="T0" y="T1"/>
                </a:cxn>
                <a:cxn ang="0">
                  <a:pos x="T2" y="T3"/>
                </a:cxn>
                <a:cxn ang="0">
                  <a:pos x="T4" y="T5"/>
                </a:cxn>
                <a:cxn ang="0">
                  <a:pos x="T6" y="T7"/>
                </a:cxn>
                <a:cxn ang="0">
                  <a:pos x="T8" y="T9"/>
                </a:cxn>
              </a:cxnLst>
              <a:rect l="0" t="0" r="r" b="b"/>
              <a:pathLst>
                <a:path w="100" h="100">
                  <a:moveTo>
                    <a:pt x="12" y="100"/>
                  </a:moveTo>
                  <a:lnTo>
                    <a:pt x="0" y="88"/>
                  </a:lnTo>
                  <a:lnTo>
                    <a:pt x="89" y="0"/>
                  </a:lnTo>
                  <a:lnTo>
                    <a:pt x="100" y="11"/>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20" name="Freeform 50">
              <a:extLst>
                <a:ext uri="{FF2B5EF4-FFF2-40B4-BE49-F238E27FC236}">
                  <a16:creationId xmlns:a16="http://schemas.microsoft.com/office/drawing/2014/main" id="{4B94C46B-FB83-4F43-83C7-AC36E95C6A04}"/>
                </a:ext>
              </a:extLst>
            </p:cNvPr>
            <p:cNvSpPr>
              <a:spLocks/>
            </p:cNvSpPr>
            <p:nvPr/>
          </p:nvSpPr>
          <p:spPr bwMode="auto">
            <a:xfrm>
              <a:off x="3779" y="480"/>
              <a:ext cx="83" cy="83"/>
            </a:xfrm>
            <a:custGeom>
              <a:avLst/>
              <a:gdLst>
                <a:gd name="T0" fmla="*/ 12 w 83"/>
                <a:gd name="T1" fmla="*/ 83 h 83"/>
                <a:gd name="T2" fmla="*/ 0 w 83"/>
                <a:gd name="T3" fmla="*/ 71 h 83"/>
                <a:gd name="T4" fmla="*/ 71 w 83"/>
                <a:gd name="T5" fmla="*/ 0 h 83"/>
                <a:gd name="T6" fmla="*/ 83 w 83"/>
                <a:gd name="T7" fmla="*/ 12 h 83"/>
                <a:gd name="T8" fmla="*/ 12 w 83"/>
                <a:gd name="T9" fmla="*/ 83 h 83"/>
              </a:gdLst>
              <a:ahLst/>
              <a:cxnLst>
                <a:cxn ang="0">
                  <a:pos x="T0" y="T1"/>
                </a:cxn>
                <a:cxn ang="0">
                  <a:pos x="T2" y="T3"/>
                </a:cxn>
                <a:cxn ang="0">
                  <a:pos x="T4" y="T5"/>
                </a:cxn>
                <a:cxn ang="0">
                  <a:pos x="T6" y="T7"/>
                </a:cxn>
                <a:cxn ang="0">
                  <a:pos x="T8" y="T9"/>
                </a:cxn>
              </a:cxnLst>
              <a:rect l="0" t="0" r="r" b="b"/>
              <a:pathLst>
                <a:path w="83" h="83">
                  <a:moveTo>
                    <a:pt x="12" y="83"/>
                  </a:moveTo>
                  <a:lnTo>
                    <a:pt x="0" y="71"/>
                  </a:lnTo>
                  <a:lnTo>
                    <a:pt x="71" y="0"/>
                  </a:lnTo>
                  <a:lnTo>
                    <a:pt x="83" y="12"/>
                  </a:lnTo>
                  <a:lnTo>
                    <a:pt x="1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21" name="Group 10">
            <a:extLst>
              <a:ext uri="{FF2B5EF4-FFF2-40B4-BE49-F238E27FC236}">
                <a16:creationId xmlns:a16="http://schemas.microsoft.com/office/drawing/2014/main" id="{EDE454D0-8C87-B549-B592-7DDDDDA65FAD}"/>
              </a:ext>
            </a:extLst>
          </p:cNvPr>
          <p:cNvGrpSpPr>
            <a:grpSpLocks noChangeAspect="1"/>
          </p:cNvGrpSpPr>
          <p:nvPr userDrawn="1"/>
        </p:nvGrpSpPr>
        <p:grpSpPr bwMode="auto">
          <a:xfrm>
            <a:off x="10965185" y="5500310"/>
            <a:ext cx="467720" cy="468818"/>
            <a:chOff x="1374" y="442"/>
            <a:chExt cx="425" cy="426"/>
          </a:xfrm>
          <a:solidFill>
            <a:schemeClr val="accent1"/>
          </a:solidFill>
        </p:grpSpPr>
        <p:sp>
          <p:nvSpPr>
            <p:cNvPr id="122" name="Freeform 11">
              <a:extLst>
                <a:ext uri="{FF2B5EF4-FFF2-40B4-BE49-F238E27FC236}">
                  <a16:creationId xmlns:a16="http://schemas.microsoft.com/office/drawing/2014/main" id="{81B4BA5C-5D57-5243-95A0-B0939E103188}"/>
                </a:ext>
              </a:extLst>
            </p:cNvPr>
            <p:cNvSpPr>
              <a:spLocks noEditPoints="1"/>
            </p:cNvSpPr>
            <p:nvPr/>
          </p:nvSpPr>
          <p:spPr bwMode="auto">
            <a:xfrm>
              <a:off x="1374" y="442"/>
              <a:ext cx="425" cy="426"/>
            </a:xfrm>
            <a:custGeom>
              <a:avLst/>
              <a:gdLst>
                <a:gd name="T0" fmla="*/ 144 w 288"/>
                <a:gd name="T1" fmla="*/ 288 h 288"/>
                <a:gd name="T2" fmla="*/ 0 w 288"/>
                <a:gd name="T3" fmla="*/ 144 h 288"/>
                <a:gd name="T4" fmla="*/ 144 w 288"/>
                <a:gd name="T5" fmla="*/ 0 h 288"/>
                <a:gd name="T6" fmla="*/ 288 w 288"/>
                <a:gd name="T7" fmla="*/ 144 h 288"/>
                <a:gd name="T8" fmla="*/ 144 w 288"/>
                <a:gd name="T9" fmla="*/ 288 h 288"/>
                <a:gd name="T10" fmla="*/ 144 w 288"/>
                <a:gd name="T11" fmla="*/ 12 h 288"/>
                <a:gd name="T12" fmla="*/ 12 w 288"/>
                <a:gd name="T13" fmla="*/ 144 h 288"/>
                <a:gd name="T14" fmla="*/ 144 w 288"/>
                <a:gd name="T15" fmla="*/ 276 h 288"/>
                <a:gd name="T16" fmla="*/ 276 w 288"/>
                <a:gd name="T17" fmla="*/ 144 h 288"/>
                <a:gd name="T18" fmla="*/ 144 w 288"/>
                <a:gd name="T19"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288"/>
                  </a:moveTo>
                  <a:cubicBezTo>
                    <a:pt x="64" y="288"/>
                    <a:pt x="0" y="223"/>
                    <a:pt x="0" y="144"/>
                  </a:cubicBezTo>
                  <a:cubicBezTo>
                    <a:pt x="0" y="64"/>
                    <a:pt x="64" y="0"/>
                    <a:pt x="144" y="0"/>
                  </a:cubicBezTo>
                  <a:cubicBezTo>
                    <a:pt x="223" y="0"/>
                    <a:pt x="288" y="64"/>
                    <a:pt x="288" y="144"/>
                  </a:cubicBezTo>
                  <a:cubicBezTo>
                    <a:pt x="288" y="223"/>
                    <a:pt x="223" y="288"/>
                    <a:pt x="144" y="288"/>
                  </a:cubicBezTo>
                  <a:close/>
                  <a:moveTo>
                    <a:pt x="144" y="12"/>
                  </a:moveTo>
                  <a:cubicBezTo>
                    <a:pt x="71" y="12"/>
                    <a:pt x="12" y="71"/>
                    <a:pt x="12" y="144"/>
                  </a:cubicBezTo>
                  <a:cubicBezTo>
                    <a:pt x="12" y="216"/>
                    <a:pt x="71" y="276"/>
                    <a:pt x="144" y="276"/>
                  </a:cubicBezTo>
                  <a:cubicBezTo>
                    <a:pt x="216" y="276"/>
                    <a:pt x="276" y="216"/>
                    <a:pt x="276" y="144"/>
                  </a:cubicBezTo>
                  <a:cubicBezTo>
                    <a:pt x="276" y="71"/>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2">
              <a:extLst>
                <a:ext uri="{FF2B5EF4-FFF2-40B4-BE49-F238E27FC236}">
                  <a16:creationId xmlns:a16="http://schemas.microsoft.com/office/drawing/2014/main" id="{DBE386C7-E758-5C4A-95CF-157D349ABDEC}"/>
                </a:ext>
              </a:extLst>
            </p:cNvPr>
            <p:cNvSpPr>
              <a:spLocks noEditPoints="1"/>
            </p:cNvSpPr>
            <p:nvPr/>
          </p:nvSpPr>
          <p:spPr bwMode="auto">
            <a:xfrm>
              <a:off x="1516" y="565"/>
              <a:ext cx="177" cy="179"/>
            </a:xfrm>
            <a:custGeom>
              <a:avLst/>
              <a:gdLst>
                <a:gd name="T0" fmla="*/ 6 w 120"/>
                <a:gd name="T1" fmla="*/ 121 h 121"/>
                <a:gd name="T2" fmla="*/ 2 w 120"/>
                <a:gd name="T3" fmla="*/ 120 h 121"/>
                <a:gd name="T4" fmla="*/ 0 w 120"/>
                <a:gd name="T5" fmla="*/ 115 h 121"/>
                <a:gd name="T6" fmla="*/ 0 w 120"/>
                <a:gd name="T7" fmla="*/ 7 h 121"/>
                <a:gd name="T8" fmla="*/ 2 w 120"/>
                <a:gd name="T9" fmla="*/ 2 h 121"/>
                <a:gd name="T10" fmla="*/ 8 w 120"/>
                <a:gd name="T11" fmla="*/ 1 h 121"/>
                <a:gd name="T12" fmla="*/ 116 w 120"/>
                <a:gd name="T13" fmla="*/ 55 h 121"/>
                <a:gd name="T14" fmla="*/ 120 w 120"/>
                <a:gd name="T15" fmla="*/ 61 h 121"/>
                <a:gd name="T16" fmla="*/ 116 w 120"/>
                <a:gd name="T17" fmla="*/ 66 h 121"/>
                <a:gd name="T18" fmla="*/ 8 w 120"/>
                <a:gd name="T19" fmla="*/ 120 h 121"/>
                <a:gd name="T20" fmla="*/ 6 w 120"/>
                <a:gd name="T21" fmla="*/ 121 h 121"/>
                <a:gd name="T22" fmla="*/ 12 w 120"/>
                <a:gd name="T23" fmla="*/ 16 h 121"/>
                <a:gd name="T24" fmla="*/ 12 w 120"/>
                <a:gd name="T25" fmla="*/ 105 h 121"/>
                <a:gd name="T26" fmla="*/ 100 w 120"/>
                <a:gd name="T27" fmla="*/ 61 h 121"/>
                <a:gd name="T28" fmla="*/ 12 w 120"/>
                <a:gd name="T29" fmla="*/ 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21">
                  <a:moveTo>
                    <a:pt x="6" y="121"/>
                  </a:moveTo>
                  <a:cubicBezTo>
                    <a:pt x="5" y="121"/>
                    <a:pt x="3" y="120"/>
                    <a:pt x="2" y="120"/>
                  </a:cubicBezTo>
                  <a:cubicBezTo>
                    <a:pt x="1" y="119"/>
                    <a:pt x="0" y="117"/>
                    <a:pt x="0" y="115"/>
                  </a:cubicBezTo>
                  <a:cubicBezTo>
                    <a:pt x="0" y="7"/>
                    <a:pt x="0" y="7"/>
                    <a:pt x="0" y="7"/>
                  </a:cubicBezTo>
                  <a:cubicBezTo>
                    <a:pt x="0" y="5"/>
                    <a:pt x="1" y="3"/>
                    <a:pt x="2" y="2"/>
                  </a:cubicBezTo>
                  <a:cubicBezTo>
                    <a:pt x="4" y="0"/>
                    <a:pt x="6" y="0"/>
                    <a:pt x="8" y="1"/>
                  </a:cubicBezTo>
                  <a:cubicBezTo>
                    <a:pt x="116" y="55"/>
                    <a:pt x="116" y="55"/>
                    <a:pt x="116" y="55"/>
                  </a:cubicBezTo>
                  <a:cubicBezTo>
                    <a:pt x="118" y="56"/>
                    <a:pt x="120" y="58"/>
                    <a:pt x="120" y="61"/>
                  </a:cubicBezTo>
                  <a:cubicBezTo>
                    <a:pt x="120" y="63"/>
                    <a:pt x="118" y="65"/>
                    <a:pt x="116" y="66"/>
                  </a:cubicBezTo>
                  <a:cubicBezTo>
                    <a:pt x="8" y="120"/>
                    <a:pt x="8" y="120"/>
                    <a:pt x="8" y="120"/>
                  </a:cubicBezTo>
                  <a:cubicBezTo>
                    <a:pt x="7" y="120"/>
                    <a:pt x="7" y="121"/>
                    <a:pt x="6" y="121"/>
                  </a:cubicBezTo>
                  <a:close/>
                  <a:moveTo>
                    <a:pt x="12" y="16"/>
                  </a:moveTo>
                  <a:cubicBezTo>
                    <a:pt x="12" y="105"/>
                    <a:pt x="12" y="105"/>
                    <a:pt x="12" y="105"/>
                  </a:cubicBezTo>
                  <a:cubicBezTo>
                    <a:pt x="100" y="61"/>
                    <a:pt x="100" y="61"/>
                    <a:pt x="100" y="61"/>
                  </a:cubicBezTo>
                  <a:lnTo>
                    <a:pt x="1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24" name="Group 87">
            <a:extLst>
              <a:ext uri="{FF2B5EF4-FFF2-40B4-BE49-F238E27FC236}">
                <a16:creationId xmlns:a16="http://schemas.microsoft.com/office/drawing/2014/main" id="{6BDE5202-854C-CC41-965A-533F32430AEE}"/>
              </a:ext>
            </a:extLst>
          </p:cNvPr>
          <p:cNvGrpSpPr>
            <a:grpSpLocks noChangeAspect="1"/>
          </p:cNvGrpSpPr>
          <p:nvPr userDrawn="1"/>
        </p:nvGrpSpPr>
        <p:grpSpPr bwMode="auto">
          <a:xfrm>
            <a:off x="4599644" y="1930124"/>
            <a:ext cx="499666" cy="499666"/>
            <a:chOff x="5510" y="1717"/>
            <a:chExt cx="428" cy="428"/>
          </a:xfrm>
          <a:solidFill>
            <a:schemeClr val="accent1"/>
          </a:solidFill>
        </p:grpSpPr>
        <p:sp>
          <p:nvSpPr>
            <p:cNvPr id="125" name="Freeform 88">
              <a:extLst>
                <a:ext uri="{FF2B5EF4-FFF2-40B4-BE49-F238E27FC236}">
                  <a16:creationId xmlns:a16="http://schemas.microsoft.com/office/drawing/2014/main" id="{5B0A10F8-A96B-5844-8703-D5883AC797AC}"/>
                </a:ext>
              </a:extLst>
            </p:cNvPr>
            <p:cNvSpPr>
              <a:spLocks/>
            </p:cNvSpPr>
            <p:nvPr/>
          </p:nvSpPr>
          <p:spPr bwMode="auto">
            <a:xfrm>
              <a:off x="5572" y="1717"/>
              <a:ext cx="366" cy="339"/>
            </a:xfrm>
            <a:custGeom>
              <a:avLst/>
              <a:gdLst>
                <a:gd name="T0" fmla="*/ 66 w 247"/>
                <a:gd name="T1" fmla="*/ 229 h 229"/>
                <a:gd name="T2" fmla="*/ 62 w 247"/>
                <a:gd name="T3" fmla="*/ 227 h 229"/>
                <a:gd name="T4" fmla="*/ 2 w 247"/>
                <a:gd name="T5" fmla="*/ 167 h 229"/>
                <a:gd name="T6" fmla="*/ 2 w 247"/>
                <a:gd name="T7" fmla="*/ 159 h 229"/>
                <a:gd name="T8" fmla="*/ 10 w 247"/>
                <a:gd name="T9" fmla="*/ 159 h 229"/>
                <a:gd name="T10" fmla="*/ 66 w 247"/>
                <a:gd name="T11" fmla="*/ 214 h 229"/>
                <a:gd name="T12" fmla="*/ 235 w 247"/>
                <a:gd name="T13" fmla="*/ 3 h 229"/>
                <a:gd name="T14" fmla="*/ 244 w 247"/>
                <a:gd name="T15" fmla="*/ 3 h 229"/>
                <a:gd name="T16" fmla="*/ 245 w 247"/>
                <a:gd name="T17" fmla="*/ 11 h 229"/>
                <a:gd name="T18" fmla="*/ 71 w 247"/>
                <a:gd name="T19" fmla="*/ 227 h 229"/>
                <a:gd name="T20" fmla="*/ 66 w 247"/>
                <a:gd name="T21" fmla="*/ 229 h 229"/>
                <a:gd name="T22" fmla="*/ 66 w 247"/>
                <a:gd name="T23"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29">
                  <a:moveTo>
                    <a:pt x="66" y="229"/>
                  </a:moveTo>
                  <a:cubicBezTo>
                    <a:pt x="65" y="229"/>
                    <a:pt x="63" y="229"/>
                    <a:pt x="62" y="227"/>
                  </a:cubicBezTo>
                  <a:cubicBezTo>
                    <a:pt x="2" y="167"/>
                    <a:pt x="2" y="167"/>
                    <a:pt x="2" y="167"/>
                  </a:cubicBezTo>
                  <a:cubicBezTo>
                    <a:pt x="0" y="165"/>
                    <a:pt x="0" y="161"/>
                    <a:pt x="2" y="159"/>
                  </a:cubicBezTo>
                  <a:cubicBezTo>
                    <a:pt x="4" y="157"/>
                    <a:pt x="8" y="157"/>
                    <a:pt x="10" y="159"/>
                  </a:cubicBezTo>
                  <a:cubicBezTo>
                    <a:pt x="66" y="214"/>
                    <a:pt x="66" y="214"/>
                    <a:pt x="66" y="214"/>
                  </a:cubicBezTo>
                  <a:cubicBezTo>
                    <a:pt x="235" y="3"/>
                    <a:pt x="235" y="3"/>
                    <a:pt x="235" y="3"/>
                  </a:cubicBezTo>
                  <a:cubicBezTo>
                    <a:pt x="238" y="1"/>
                    <a:pt x="241" y="0"/>
                    <a:pt x="244" y="3"/>
                  </a:cubicBezTo>
                  <a:cubicBezTo>
                    <a:pt x="246" y="5"/>
                    <a:pt x="247" y="8"/>
                    <a:pt x="245" y="11"/>
                  </a:cubicBezTo>
                  <a:cubicBezTo>
                    <a:pt x="71" y="227"/>
                    <a:pt x="71" y="227"/>
                    <a:pt x="71" y="227"/>
                  </a:cubicBezTo>
                  <a:cubicBezTo>
                    <a:pt x="70" y="228"/>
                    <a:pt x="68" y="229"/>
                    <a:pt x="66" y="229"/>
                  </a:cubicBezTo>
                  <a:cubicBezTo>
                    <a:pt x="66" y="229"/>
                    <a:pt x="66" y="229"/>
                    <a:pt x="66"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sp>
          <p:nvSpPr>
            <p:cNvPr id="126" name="Freeform 89">
              <a:extLst>
                <a:ext uri="{FF2B5EF4-FFF2-40B4-BE49-F238E27FC236}">
                  <a16:creationId xmlns:a16="http://schemas.microsoft.com/office/drawing/2014/main" id="{04185316-B34F-294A-A34C-BE4AAF5B7697}"/>
                </a:ext>
              </a:extLst>
            </p:cNvPr>
            <p:cNvSpPr>
              <a:spLocks/>
            </p:cNvSpPr>
            <p:nvPr/>
          </p:nvSpPr>
          <p:spPr bwMode="auto">
            <a:xfrm>
              <a:off x="5510" y="1808"/>
              <a:ext cx="337" cy="337"/>
            </a:xfrm>
            <a:custGeom>
              <a:avLst/>
              <a:gdLst>
                <a:gd name="T0" fmla="*/ 114 w 228"/>
                <a:gd name="T1" fmla="*/ 228 h 228"/>
                <a:gd name="T2" fmla="*/ 0 w 228"/>
                <a:gd name="T3" fmla="*/ 114 h 228"/>
                <a:gd name="T4" fmla="*/ 114 w 228"/>
                <a:gd name="T5" fmla="*/ 0 h 228"/>
                <a:gd name="T6" fmla="*/ 165 w 228"/>
                <a:gd name="T7" fmla="*/ 12 h 228"/>
                <a:gd name="T8" fmla="*/ 168 w 228"/>
                <a:gd name="T9" fmla="*/ 20 h 228"/>
                <a:gd name="T10" fmla="*/ 159 w 228"/>
                <a:gd name="T11" fmla="*/ 23 h 228"/>
                <a:gd name="T12" fmla="*/ 114 w 228"/>
                <a:gd name="T13" fmla="*/ 12 h 228"/>
                <a:gd name="T14" fmla="*/ 12 w 228"/>
                <a:gd name="T15" fmla="*/ 114 h 228"/>
                <a:gd name="T16" fmla="*/ 114 w 228"/>
                <a:gd name="T17" fmla="*/ 216 h 228"/>
                <a:gd name="T18" fmla="*/ 216 w 228"/>
                <a:gd name="T19" fmla="*/ 114 h 228"/>
                <a:gd name="T20" fmla="*/ 214 w 228"/>
                <a:gd name="T21" fmla="*/ 92 h 228"/>
                <a:gd name="T22" fmla="*/ 218 w 228"/>
                <a:gd name="T23" fmla="*/ 84 h 228"/>
                <a:gd name="T24" fmla="*/ 225 w 228"/>
                <a:gd name="T25" fmla="*/ 89 h 228"/>
                <a:gd name="T26" fmla="*/ 228 w 228"/>
                <a:gd name="T27" fmla="*/ 114 h 228"/>
                <a:gd name="T28" fmla="*/ 114 w 228"/>
                <a:gd name="T2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8">
                  <a:moveTo>
                    <a:pt x="114" y="228"/>
                  </a:moveTo>
                  <a:cubicBezTo>
                    <a:pt x="51" y="228"/>
                    <a:pt x="0" y="177"/>
                    <a:pt x="0" y="114"/>
                  </a:cubicBezTo>
                  <a:cubicBezTo>
                    <a:pt x="0" y="51"/>
                    <a:pt x="51" y="0"/>
                    <a:pt x="114" y="0"/>
                  </a:cubicBezTo>
                  <a:cubicBezTo>
                    <a:pt x="132" y="0"/>
                    <a:pt x="149" y="4"/>
                    <a:pt x="165" y="12"/>
                  </a:cubicBezTo>
                  <a:cubicBezTo>
                    <a:pt x="168" y="14"/>
                    <a:pt x="169" y="17"/>
                    <a:pt x="168" y="20"/>
                  </a:cubicBezTo>
                  <a:cubicBezTo>
                    <a:pt x="166" y="23"/>
                    <a:pt x="162" y="24"/>
                    <a:pt x="159" y="23"/>
                  </a:cubicBezTo>
                  <a:cubicBezTo>
                    <a:pt x="145" y="16"/>
                    <a:pt x="130" y="12"/>
                    <a:pt x="114" y="12"/>
                  </a:cubicBezTo>
                  <a:cubicBezTo>
                    <a:pt x="58" y="12"/>
                    <a:pt x="12" y="58"/>
                    <a:pt x="12" y="114"/>
                  </a:cubicBezTo>
                  <a:cubicBezTo>
                    <a:pt x="12" y="170"/>
                    <a:pt x="58" y="216"/>
                    <a:pt x="114" y="216"/>
                  </a:cubicBezTo>
                  <a:cubicBezTo>
                    <a:pt x="170" y="216"/>
                    <a:pt x="216" y="170"/>
                    <a:pt x="216" y="114"/>
                  </a:cubicBezTo>
                  <a:cubicBezTo>
                    <a:pt x="216" y="107"/>
                    <a:pt x="215" y="99"/>
                    <a:pt x="214" y="92"/>
                  </a:cubicBezTo>
                  <a:cubicBezTo>
                    <a:pt x="213" y="88"/>
                    <a:pt x="215" y="85"/>
                    <a:pt x="218" y="84"/>
                  </a:cubicBezTo>
                  <a:cubicBezTo>
                    <a:pt x="221" y="84"/>
                    <a:pt x="225" y="86"/>
                    <a:pt x="225" y="89"/>
                  </a:cubicBezTo>
                  <a:cubicBezTo>
                    <a:pt x="227" y="97"/>
                    <a:pt x="228" y="106"/>
                    <a:pt x="228" y="114"/>
                  </a:cubicBezTo>
                  <a:cubicBezTo>
                    <a:pt x="228" y="177"/>
                    <a:pt x="177" y="228"/>
                    <a:pt x="114"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mj-lt"/>
              </a:endParaRPr>
            </a:p>
          </p:txBody>
        </p:sp>
      </p:grpSp>
      <p:grpSp>
        <p:nvGrpSpPr>
          <p:cNvPr id="127" name="Group 78">
            <a:extLst>
              <a:ext uri="{FF2B5EF4-FFF2-40B4-BE49-F238E27FC236}">
                <a16:creationId xmlns:a16="http://schemas.microsoft.com/office/drawing/2014/main" id="{11722946-2303-184D-8463-D62F3154D89B}"/>
              </a:ext>
            </a:extLst>
          </p:cNvPr>
          <p:cNvGrpSpPr>
            <a:grpSpLocks noChangeAspect="1"/>
          </p:cNvGrpSpPr>
          <p:nvPr userDrawn="1"/>
        </p:nvGrpSpPr>
        <p:grpSpPr bwMode="auto">
          <a:xfrm>
            <a:off x="5953323" y="1958607"/>
            <a:ext cx="332545" cy="442701"/>
            <a:chOff x="5561" y="440"/>
            <a:chExt cx="320" cy="426"/>
          </a:xfrm>
          <a:solidFill>
            <a:schemeClr val="accent1"/>
          </a:solidFill>
        </p:grpSpPr>
        <p:sp>
          <p:nvSpPr>
            <p:cNvPr id="128" name="Freeform 79">
              <a:extLst>
                <a:ext uri="{FF2B5EF4-FFF2-40B4-BE49-F238E27FC236}">
                  <a16:creationId xmlns:a16="http://schemas.microsoft.com/office/drawing/2014/main" id="{B5E1DA5A-F0CE-4447-9220-974C2855E08C}"/>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80">
              <a:extLst>
                <a:ext uri="{FF2B5EF4-FFF2-40B4-BE49-F238E27FC236}">
                  <a16:creationId xmlns:a16="http://schemas.microsoft.com/office/drawing/2014/main" id="{ABA3B36B-BE79-3540-89D8-3AD859FC58B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81">
              <a:extLst>
                <a:ext uri="{FF2B5EF4-FFF2-40B4-BE49-F238E27FC236}">
                  <a16:creationId xmlns:a16="http://schemas.microsoft.com/office/drawing/2014/main" id="{25C5AFD0-4C23-1A40-A6D1-BE0869FC7639}"/>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82">
              <a:extLst>
                <a:ext uri="{FF2B5EF4-FFF2-40B4-BE49-F238E27FC236}">
                  <a16:creationId xmlns:a16="http://schemas.microsoft.com/office/drawing/2014/main" id="{D412E5BA-BAFD-7249-9FD7-E1C872BDFC99}"/>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83">
              <a:extLst>
                <a:ext uri="{FF2B5EF4-FFF2-40B4-BE49-F238E27FC236}">
                  <a16:creationId xmlns:a16="http://schemas.microsoft.com/office/drawing/2014/main" id="{427BAFDA-991B-DF4F-A7FE-4061E7986915}"/>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84">
              <a:extLst>
                <a:ext uri="{FF2B5EF4-FFF2-40B4-BE49-F238E27FC236}">
                  <a16:creationId xmlns:a16="http://schemas.microsoft.com/office/drawing/2014/main" id="{B4508F28-8BDC-9245-9C66-6834A3DEBB70}"/>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85">
              <a:extLst>
                <a:ext uri="{FF2B5EF4-FFF2-40B4-BE49-F238E27FC236}">
                  <a16:creationId xmlns:a16="http://schemas.microsoft.com/office/drawing/2014/main" id="{4B821B86-B791-D441-90DA-D286CAEB560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86">
              <a:extLst>
                <a:ext uri="{FF2B5EF4-FFF2-40B4-BE49-F238E27FC236}">
                  <a16:creationId xmlns:a16="http://schemas.microsoft.com/office/drawing/2014/main" id="{0961530D-62F0-7F40-BD08-0D4F17005F35}"/>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36" name="Group 45">
            <a:extLst>
              <a:ext uri="{FF2B5EF4-FFF2-40B4-BE49-F238E27FC236}">
                <a16:creationId xmlns:a16="http://schemas.microsoft.com/office/drawing/2014/main" id="{516FF822-0AC6-8F49-982F-1D1D7300DD43}"/>
              </a:ext>
            </a:extLst>
          </p:cNvPr>
          <p:cNvGrpSpPr>
            <a:grpSpLocks noChangeAspect="1"/>
          </p:cNvGrpSpPr>
          <p:nvPr userDrawn="1"/>
        </p:nvGrpSpPr>
        <p:grpSpPr bwMode="auto">
          <a:xfrm>
            <a:off x="783204" y="3116889"/>
            <a:ext cx="481666" cy="481666"/>
            <a:chOff x="5507" y="439"/>
            <a:chExt cx="426" cy="426"/>
          </a:xfrm>
          <a:solidFill>
            <a:schemeClr val="accent1"/>
          </a:solidFill>
        </p:grpSpPr>
        <p:sp>
          <p:nvSpPr>
            <p:cNvPr id="137" name="Freeform 46">
              <a:extLst>
                <a:ext uri="{FF2B5EF4-FFF2-40B4-BE49-F238E27FC236}">
                  <a16:creationId xmlns:a16="http://schemas.microsoft.com/office/drawing/2014/main" id="{F4B73D59-02E7-6541-B93C-C6650620AAF5}"/>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47">
              <a:extLst>
                <a:ext uri="{FF2B5EF4-FFF2-40B4-BE49-F238E27FC236}">
                  <a16:creationId xmlns:a16="http://schemas.microsoft.com/office/drawing/2014/main" id="{A069EDB2-D1F1-4B46-9633-D4A833BD8A7A}"/>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48">
              <a:extLst>
                <a:ext uri="{FF2B5EF4-FFF2-40B4-BE49-F238E27FC236}">
                  <a16:creationId xmlns:a16="http://schemas.microsoft.com/office/drawing/2014/main" id="{28E39315-063A-D84B-9973-3C71C544EA25}"/>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49">
              <a:extLst>
                <a:ext uri="{FF2B5EF4-FFF2-40B4-BE49-F238E27FC236}">
                  <a16:creationId xmlns:a16="http://schemas.microsoft.com/office/drawing/2014/main" id="{25703F0B-4AFB-1142-AB77-64647188DC7B}"/>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1" name="Group 79">
            <a:extLst>
              <a:ext uri="{FF2B5EF4-FFF2-40B4-BE49-F238E27FC236}">
                <a16:creationId xmlns:a16="http://schemas.microsoft.com/office/drawing/2014/main" id="{F01FD265-4EA3-E648-9E9F-F7ED57259CE5}"/>
              </a:ext>
            </a:extLst>
          </p:cNvPr>
          <p:cNvGrpSpPr>
            <a:grpSpLocks noChangeAspect="1"/>
          </p:cNvGrpSpPr>
          <p:nvPr userDrawn="1"/>
        </p:nvGrpSpPr>
        <p:grpSpPr bwMode="auto">
          <a:xfrm>
            <a:off x="4608644" y="3186991"/>
            <a:ext cx="481666" cy="341462"/>
            <a:chOff x="3437" y="1784"/>
            <a:chExt cx="426" cy="302"/>
          </a:xfrm>
          <a:solidFill>
            <a:schemeClr val="accent1"/>
          </a:solidFill>
        </p:grpSpPr>
        <p:sp>
          <p:nvSpPr>
            <p:cNvPr id="142" name="Freeform 80">
              <a:extLst>
                <a:ext uri="{FF2B5EF4-FFF2-40B4-BE49-F238E27FC236}">
                  <a16:creationId xmlns:a16="http://schemas.microsoft.com/office/drawing/2014/main" id="{AD563135-6D41-B34F-8DBF-9789C1D2FC7D}"/>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3" name="Freeform 81">
              <a:extLst>
                <a:ext uri="{FF2B5EF4-FFF2-40B4-BE49-F238E27FC236}">
                  <a16:creationId xmlns:a16="http://schemas.microsoft.com/office/drawing/2014/main" id="{8E14FF8C-207B-F447-B912-AC19E0458359}"/>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4" name="Freeform 82">
              <a:extLst>
                <a:ext uri="{FF2B5EF4-FFF2-40B4-BE49-F238E27FC236}">
                  <a16:creationId xmlns:a16="http://schemas.microsoft.com/office/drawing/2014/main" id="{D89E874B-0787-064A-B6EE-771B86487C5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5" name="Freeform 83">
              <a:extLst>
                <a:ext uri="{FF2B5EF4-FFF2-40B4-BE49-F238E27FC236}">
                  <a16:creationId xmlns:a16="http://schemas.microsoft.com/office/drawing/2014/main" id="{B0BBC9BB-9478-DD40-9544-993DEB7E0F10}"/>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6" name="Freeform 84">
              <a:extLst>
                <a:ext uri="{FF2B5EF4-FFF2-40B4-BE49-F238E27FC236}">
                  <a16:creationId xmlns:a16="http://schemas.microsoft.com/office/drawing/2014/main" id="{52E27719-BDA4-694D-83C1-C827D694BDD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7" name="Freeform 85">
              <a:extLst>
                <a:ext uri="{FF2B5EF4-FFF2-40B4-BE49-F238E27FC236}">
                  <a16:creationId xmlns:a16="http://schemas.microsoft.com/office/drawing/2014/main" id="{FF113834-5F02-6A41-9F8F-FFF2D91F562A}"/>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8" name="Freeform 86">
              <a:extLst>
                <a:ext uri="{FF2B5EF4-FFF2-40B4-BE49-F238E27FC236}">
                  <a16:creationId xmlns:a16="http://schemas.microsoft.com/office/drawing/2014/main" id="{1F6BA6DB-8682-D240-BADC-571C01985129}"/>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49" name="Freeform 87">
              <a:extLst>
                <a:ext uri="{FF2B5EF4-FFF2-40B4-BE49-F238E27FC236}">
                  <a16:creationId xmlns:a16="http://schemas.microsoft.com/office/drawing/2014/main" id="{FE697EC8-E5DA-6C49-A676-2F10E8AEA48A}"/>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0" name="Freeform 88">
              <a:extLst>
                <a:ext uri="{FF2B5EF4-FFF2-40B4-BE49-F238E27FC236}">
                  <a16:creationId xmlns:a16="http://schemas.microsoft.com/office/drawing/2014/main" id="{12D6C954-2EF3-BD42-BFB7-359D0D4F6A5C}"/>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1" name="Freeform 89">
              <a:extLst>
                <a:ext uri="{FF2B5EF4-FFF2-40B4-BE49-F238E27FC236}">
                  <a16:creationId xmlns:a16="http://schemas.microsoft.com/office/drawing/2014/main" id="{A35B7786-D1F2-4549-A514-FD155D87A266}"/>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152" name="Freeform 90">
              <a:extLst>
                <a:ext uri="{FF2B5EF4-FFF2-40B4-BE49-F238E27FC236}">
                  <a16:creationId xmlns:a16="http://schemas.microsoft.com/office/drawing/2014/main" id="{184AEB09-EB08-604B-AC9C-43039EE91DFE}"/>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153" name="Group 59">
            <a:extLst>
              <a:ext uri="{FF2B5EF4-FFF2-40B4-BE49-F238E27FC236}">
                <a16:creationId xmlns:a16="http://schemas.microsoft.com/office/drawing/2014/main" id="{892D387B-5AA1-8044-8D45-614FDCB30B66}"/>
              </a:ext>
            </a:extLst>
          </p:cNvPr>
          <p:cNvGrpSpPr>
            <a:grpSpLocks noChangeAspect="1"/>
          </p:cNvGrpSpPr>
          <p:nvPr userDrawn="1"/>
        </p:nvGrpSpPr>
        <p:grpSpPr bwMode="auto">
          <a:xfrm>
            <a:off x="2075617" y="3217044"/>
            <a:ext cx="466978" cy="281356"/>
            <a:chOff x="6554" y="532"/>
            <a:chExt cx="400" cy="241"/>
          </a:xfrm>
          <a:solidFill>
            <a:schemeClr val="accent1"/>
          </a:solidFill>
        </p:grpSpPr>
        <p:sp>
          <p:nvSpPr>
            <p:cNvPr id="154" name="Freeform 60">
              <a:extLst>
                <a:ext uri="{FF2B5EF4-FFF2-40B4-BE49-F238E27FC236}">
                  <a16:creationId xmlns:a16="http://schemas.microsoft.com/office/drawing/2014/main" id="{CA82DAE1-B4D6-1142-8988-789C66AB55DB}"/>
                </a:ext>
              </a:extLst>
            </p:cNvPr>
            <p:cNvSpPr>
              <a:spLocks/>
            </p:cNvSpPr>
            <p:nvPr/>
          </p:nvSpPr>
          <p:spPr bwMode="auto">
            <a:xfrm>
              <a:off x="6554" y="532"/>
              <a:ext cx="400" cy="241"/>
            </a:xfrm>
            <a:custGeom>
              <a:avLst/>
              <a:gdLst>
                <a:gd name="T0" fmla="*/ 6 w 271"/>
                <a:gd name="T1" fmla="*/ 163 h 163"/>
                <a:gd name="T2" fmla="*/ 2 w 271"/>
                <a:gd name="T3" fmla="*/ 161 h 163"/>
                <a:gd name="T4" fmla="*/ 2 w 271"/>
                <a:gd name="T5" fmla="*/ 153 h 163"/>
                <a:gd name="T6" fmla="*/ 98 w 271"/>
                <a:gd name="T7" fmla="*/ 45 h 163"/>
                <a:gd name="T8" fmla="*/ 106 w 271"/>
                <a:gd name="T9" fmla="*/ 44 h 163"/>
                <a:gd name="T10" fmla="*/ 174 w 271"/>
                <a:gd name="T11" fmla="*/ 100 h 163"/>
                <a:gd name="T12" fmla="*/ 260 w 271"/>
                <a:gd name="T13" fmla="*/ 3 h 163"/>
                <a:gd name="T14" fmla="*/ 268 w 271"/>
                <a:gd name="T15" fmla="*/ 2 h 163"/>
                <a:gd name="T16" fmla="*/ 269 w 271"/>
                <a:gd name="T17" fmla="*/ 11 h 163"/>
                <a:gd name="T18" fmla="*/ 179 w 271"/>
                <a:gd name="T19" fmla="*/ 113 h 163"/>
                <a:gd name="T20" fmla="*/ 171 w 271"/>
                <a:gd name="T21" fmla="*/ 113 h 163"/>
                <a:gd name="T22" fmla="*/ 103 w 271"/>
                <a:gd name="T23" fmla="*/ 57 h 163"/>
                <a:gd name="T24" fmla="*/ 11 w 271"/>
                <a:gd name="T25" fmla="*/ 161 h 163"/>
                <a:gd name="T26" fmla="*/ 6 w 271"/>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63">
                  <a:moveTo>
                    <a:pt x="6" y="163"/>
                  </a:moveTo>
                  <a:cubicBezTo>
                    <a:pt x="5" y="163"/>
                    <a:pt x="4" y="162"/>
                    <a:pt x="2" y="161"/>
                  </a:cubicBezTo>
                  <a:cubicBezTo>
                    <a:pt x="0" y="159"/>
                    <a:pt x="0" y="155"/>
                    <a:pt x="2" y="153"/>
                  </a:cubicBezTo>
                  <a:cubicBezTo>
                    <a:pt x="98" y="45"/>
                    <a:pt x="98" y="45"/>
                    <a:pt x="98" y="45"/>
                  </a:cubicBezTo>
                  <a:cubicBezTo>
                    <a:pt x="100" y="42"/>
                    <a:pt x="104" y="42"/>
                    <a:pt x="106" y="44"/>
                  </a:cubicBezTo>
                  <a:cubicBezTo>
                    <a:pt x="174" y="100"/>
                    <a:pt x="174" y="100"/>
                    <a:pt x="174" y="100"/>
                  </a:cubicBezTo>
                  <a:cubicBezTo>
                    <a:pt x="260" y="3"/>
                    <a:pt x="260" y="3"/>
                    <a:pt x="260" y="3"/>
                  </a:cubicBezTo>
                  <a:cubicBezTo>
                    <a:pt x="262" y="0"/>
                    <a:pt x="266" y="0"/>
                    <a:pt x="268" y="2"/>
                  </a:cubicBezTo>
                  <a:cubicBezTo>
                    <a:pt x="271" y="5"/>
                    <a:pt x="271" y="8"/>
                    <a:pt x="269" y="11"/>
                  </a:cubicBezTo>
                  <a:cubicBezTo>
                    <a:pt x="179" y="113"/>
                    <a:pt x="179" y="113"/>
                    <a:pt x="179" y="113"/>
                  </a:cubicBezTo>
                  <a:cubicBezTo>
                    <a:pt x="177" y="115"/>
                    <a:pt x="173" y="116"/>
                    <a:pt x="171" y="113"/>
                  </a:cubicBezTo>
                  <a:cubicBezTo>
                    <a:pt x="103" y="57"/>
                    <a:pt x="103" y="57"/>
                    <a:pt x="103" y="57"/>
                  </a:cubicBezTo>
                  <a:cubicBezTo>
                    <a:pt x="11" y="161"/>
                    <a:pt x="11" y="161"/>
                    <a:pt x="11" y="161"/>
                  </a:cubicBezTo>
                  <a:cubicBezTo>
                    <a:pt x="10" y="162"/>
                    <a:pt x="8" y="163"/>
                    <a:pt x="6"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155" name="Freeform 61">
              <a:extLst>
                <a:ext uri="{FF2B5EF4-FFF2-40B4-BE49-F238E27FC236}">
                  <a16:creationId xmlns:a16="http://schemas.microsoft.com/office/drawing/2014/main" id="{F6DD371E-5D02-AF4E-8FE8-2BC519C3177C}"/>
                </a:ext>
              </a:extLst>
            </p:cNvPr>
            <p:cNvSpPr>
              <a:spLocks/>
            </p:cNvSpPr>
            <p:nvPr/>
          </p:nvSpPr>
          <p:spPr bwMode="auto">
            <a:xfrm>
              <a:off x="6812" y="534"/>
              <a:ext cx="141" cy="124"/>
            </a:xfrm>
            <a:custGeom>
              <a:avLst/>
              <a:gdLst>
                <a:gd name="T0" fmla="*/ 89 w 95"/>
                <a:gd name="T1" fmla="*/ 84 h 84"/>
                <a:gd name="T2" fmla="*/ 83 w 95"/>
                <a:gd name="T3" fmla="*/ 78 h 84"/>
                <a:gd name="T4" fmla="*/ 83 w 95"/>
                <a:gd name="T5" fmla="*/ 12 h 84"/>
                <a:gd name="T6" fmla="*/ 6 w 95"/>
                <a:gd name="T7" fmla="*/ 12 h 84"/>
                <a:gd name="T8" fmla="*/ 0 w 95"/>
                <a:gd name="T9" fmla="*/ 6 h 84"/>
                <a:gd name="T10" fmla="*/ 6 w 95"/>
                <a:gd name="T11" fmla="*/ 0 h 84"/>
                <a:gd name="T12" fmla="*/ 89 w 95"/>
                <a:gd name="T13" fmla="*/ 0 h 84"/>
                <a:gd name="T14" fmla="*/ 95 w 95"/>
                <a:gd name="T15" fmla="*/ 6 h 84"/>
                <a:gd name="T16" fmla="*/ 95 w 95"/>
                <a:gd name="T17" fmla="*/ 78 h 84"/>
                <a:gd name="T18" fmla="*/ 89 w 95"/>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84">
                  <a:moveTo>
                    <a:pt x="89" y="84"/>
                  </a:moveTo>
                  <a:cubicBezTo>
                    <a:pt x="86" y="84"/>
                    <a:pt x="83" y="81"/>
                    <a:pt x="83" y="78"/>
                  </a:cubicBezTo>
                  <a:cubicBezTo>
                    <a:pt x="83" y="12"/>
                    <a:pt x="83" y="12"/>
                    <a:pt x="83" y="12"/>
                  </a:cubicBezTo>
                  <a:cubicBezTo>
                    <a:pt x="6" y="12"/>
                    <a:pt x="6" y="12"/>
                    <a:pt x="6" y="12"/>
                  </a:cubicBezTo>
                  <a:cubicBezTo>
                    <a:pt x="3" y="12"/>
                    <a:pt x="0" y="9"/>
                    <a:pt x="0" y="6"/>
                  </a:cubicBezTo>
                  <a:cubicBezTo>
                    <a:pt x="0" y="3"/>
                    <a:pt x="3" y="0"/>
                    <a:pt x="6" y="0"/>
                  </a:cubicBezTo>
                  <a:cubicBezTo>
                    <a:pt x="89" y="0"/>
                    <a:pt x="89" y="0"/>
                    <a:pt x="89" y="0"/>
                  </a:cubicBezTo>
                  <a:cubicBezTo>
                    <a:pt x="93" y="0"/>
                    <a:pt x="95" y="3"/>
                    <a:pt x="95" y="6"/>
                  </a:cubicBezTo>
                  <a:cubicBezTo>
                    <a:pt x="95" y="78"/>
                    <a:pt x="95" y="78"/>
                    <a:pt x="95" y="78"/>
                  </a:cubicBezTo>
                  <a:cubicBezTo>
                    <a:pt x="95" y="81"/>
                    <a:pt x="93" y="84"/>
                    <a:pt x="8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grpSp>
        <p:nvGrpSpPr>
          <p:cNvPr id="156" name="Group 60">
            <a:extLst>
              <a:ext uri="{FF2B5EF4-FFF2-40B4-BE49-F238E27FC236}">
                <a16:creationId xmlns:a16="http://schemas.microsoft.com/office/drawing/2014/main" id="{909B4C50-0B6B-F940-B96B-0F025E25749D}"/>
              </a:ext>
            </a:extLst>
          </p:cNvPr>
          <p:cNvGrpSpPr>
            <a:grpSpLocks noChangeAspect="1"/>
          </p:cNvGrpSpPr>
          <p:nvPr userDrawn="1"/>
        </p:nvGrpSpPr>
        <p:grpSpPr bwMode="auto">
          <a:xfrm>
            <a:off x="3329567" y="3117577"/>
            <a:ext cx="491836" cy="480291"/>
            <a:chOff x="6726" y="600"/>
            <a:chExt cx="426" cy="416"/>
          </a:xfrm>
          <a:solidFill>
            <a:schemeClr val="accent1"/>
          </a:solidFill>
        </p:grpSpPr>
        <p:sp>
          <p:nvSpPr>
            <p:cNvPr id="157" name="Freeform 61">
              <a:extLst>
                <a:ext uri="{FF2B5EF4-FFF2-40B4-BE49-F238E27FC236}">
                  <a16:creationId xmlns:a16="http://schemas.microsoft.com/office/drawing/2014/main" id="{9C3A8E24-140A-A045-9B50-E9B468100282}"/>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2">
              <a:extLst>
                <a:ext uri="{FF2B5EF4-FFF2-40B4-BE49-F238E27FC236}">
                  <a16:creationId xmlns:a16="http://schemas.microsoft.com/office/drawing/2014/main" id="{7B95F1FD-5650-BC4B-808D-C3715C5F40BE}"/>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3">
              <a:extLst>
                <a:ext uri="{FF2B5EF4-FFF2-40B4-BE49-F238E27FC236}">
                  <a16:creationId xmlns:a16="http://schemas.microsoft.com/office/drawing/2014/main" id="{0ACA05DC-D168-ED4A-8F9D-48683873D78A}"/>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4">
              <a:extLst>
                <a:ext uri="{FF2B5EF4-FFF2-40B4-BE49-F238E27FC236}">
                  <a16:creationId xmlns:a16="http://schemas.microsoft.com/office/drawing/2014/main" id="{DEACE061-660B-B846-81F5-5CAC95D88ABD}"/>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5">
              <a:extLst>
                <a:ext uri="{FF2B5EF4-FFF2-40B4-BE49-F238E27FC236}">
                  <a16:creationId xmlns:a16="http://schemas.microsoft.com/office/drawing/2014/main" id="{6C1EFCFD-1918-4C4B-9CE7-E8EFB1D43AEC}"/>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6">
              <a:extLst>
                <a:ext uri="{FF2B5EF4-FFF2-40B4-BE49-F238E27FC236}">
                  <a16:creationId xmlns:a16="http://schemas.microsoft.com/office/drawing/2014/main" id="{E3276A80-6E12-C248-A63A-BDDBCB6DC276}"/>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7">
              <a:extLst>
                <a:ext uri="{FF2B5EF4-FFF2-40B4-BE49-F238E27FC236}">
                  <a16:creationId xmlns:a16="http://schemas.microsoft.com/office/drawing/2014/main" id="{FA66DBB2-838B-4C4A-BA40-168FEF07086F}"/>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8">
              <a:extLst>
                <a:ext uri="{FF2B5EF4-FFF2-40B4-BE49-F238E27FC236}">
                  <a16:creationId xmlns:a16="http://schemas.microsoft.com/office/drawing/2014/main" id="{93019F76-8284-AF42-815A-EE8C56616EEB}"/>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69">
              <a:extLst>
                <a:ext uri="{FF2B5EF4-FFF2-40B4-BE49-F238E27FC236}">
                  <a16:creationId xmlns:a16="http://schemas.microsoft.com/office/drawing/2014/main" id="{994737E9-AB00-4844-A2D9-029280879396}"/>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0">
              <a:extLst>
                <a:ext uri="{FF2B5EF4-FFF2-40B4-BE49-F238E27FC236}">
                  <a16:creationId xmlns:a16="http://schemas.microsoft.com/office/drawing/2014/main" id="{31011639-86D2-1945-816C-1890494209C3}"/>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1">
              <a:extLst>
                <a:ext uri="{FF2B5EF4-FFF2-40B4-BE49-F238E27FC236}">
                  <a16:creationId xmlns:a16="http://schemas.microsoft.com/office/drawing/2014/main" id="{351419A5-CCB8-0F4A-A9D8-85EBBC43D894}"/>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2">
              <a:extLst>
                <a:ext uri="{FF2B5EF4-FFF2-40B4-BE49-F238E27FC236}">
                  <a16:creationId xmlns:a16="http://schemas.microsoft.com/office/drawing/2014/main" id="{E9D27936-5D5D-614F-8C1C-7B1D6C8F53BC}"/>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47">
            <a:extLst>
              <a:ext uri="{FF2B5EF4-FFF2-40B4-BE49-F238E27FC236}">
                <a16:creationId xmlns:a16="http://schemas.microsoft.com/office/drawing/2014/main" id="{1A45C7C7-247A-8046-A96E-AD1F982C8EF8}"/>
              </a:ext>
            </a:extLst>
          </p:cNvPr>
          <p:cNvGrpSpPr>
            <a:grpSpLocks noChangeAspect="1"/>
          </p:cNvGrpSpPr>
          <p:nvPr userDrawn="1"/>
        </p:nvGrpSpPr>
        <p:grpSpPr bwMode="auto">
          <a:xfrm>
            <a:off x="4602982" y="4317934"/>
            <a:ext cx="492991" cy="480291"/>
            <a:chOff x="4660" y="3155"/>
            <a:chExt cx="427" cy="416"/>
          </a:xfrm>
          <a:solidFill>
            <a:schemeClr val="accent1"/>
          </a:solidFill>
        </p:grpSpPr>
        <p:sp>
          <p:nvSpPr>
            <p:cNvPr id="170" name="Freeform 148">
              <a:extLst>
                <a:ext uri="{FF2B5EF4-FFF2-40B4-BE49-F238E27FC236}">
                  <a16:creationId xmlns:a16="http://schemas.microsoft.com/office/drawing/2014/main" id="{8E8C409B-9E97-C84A-B9D3-A35AAE508CE2}"/>
                </a:ext>
              </a:extLst>
            </p:cNvPr>
            <p:cNvSpPr>
              <a:spLocks/>
            </p:cNvSpPr>
            <p:nvPr/>
          </p:nvSpPr>
          <p:spPr bwMode="auto">
            <a:xfrm>
              <a:off x="4952" y="3213"/>
              <a:ext cx="75" cy="72"/>
            </a:xfrm>
            <a:custGeom>
              <a:avLst/>
              <a:gdLst>
                <a:gd name="T0" fmla="*/ 7 w 51"/>
                <a:gd name="T1" fmla="*/ 50 h 50"/>
                <a:gd name="T2" fmla="*/ 3 w 51"/>
                <a:gd name="T3" fmla="*/ 48 h 50"/>
                <a:gd name="T4" fmla="*/ 3 w 51"/>
                <a:gd name="T5" fmla="*/ 40 h 50"/>
                <a:gd name="T6" fmla="*/ 40 w 51"/>
                <a:gd name="T7" fmla="*/ 3 h 50"/>
                <a:gd name="T8" fmla="*/ 49 w 51"/>
                <a:gd name="T9" fmla="*/ 3 h 50"/>
                <a:gd name="T10" fmla="*/ 49 w 51"/>
                <a:gd name="T11" fmla="*/ 11 h 50"/>
                <a:gd name="T12" fmla="*/ 11 w 51"/>
                <a:gd name="T13" fmla="*/ 48 h 50"/>
                <a:gd name="T14" fmla="*/ 7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7" y="50"/>
                  </a:moveTo>
                  <a:cubicBezTo>
                    <a:pt x="6" y="50"/>
                    <a:pt x="4" y="49"/>
                    <a:pt x="3" y="48"/>
                  </a:cubicBezTo>
                  <a:cubicBezTo>
                    <a:pt x="0" y="46"/>
                    <a:pt x="0" y="42"/>
                    <a:pt x="3" y="40"/>
                  </a:cubicBezTo>
                  <a:cubicBezTo>
                    <a:pt x="40" y="3"/>
                    <a:pt x="40" y="3"/>
                    <a:pt x="40" y="3"/>
                  </a:cubicBezTo>
                  <a:cubicBezTo>
                    <a:pt x="42" y="0"/>
                    <a:pt x="46" y="0"/>
                    <a:pt x="49" y="3"/>
                  </a:cubicBezTo>
                  <a:cubicBezTo>
                    <a:pt x="51" y="5"/>
                    <a:pt x="51" y="9"/>
                    <a:pt x="49" y="11"/>
                  </a:cubicBezTo>
                  <a:cubicBezTo>
                    <a:pt x="11" y="48"/>
                    <a:pt x="11" y="48"/>
                    <a:pt x="11" y="48"/>
                  </a:cubicBezTo>
                  <a:cubicBezTo>
                    <a:pt x="10" y="49"/>
                    <a:pt x="9" y="50"/>
                    <a:pt x="7"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1" name="Freeform 149">
              <a:extLst>
                <a:ext uri="{FF2B5EF4-FFF2-40B4-BE49-F238E27FC236}">
                  <a16:creationId xmlns:a16="http://schemas.microsoft.com/office/drawing/2014/main" id="{DA0B5ECD-870E-4848-9CD3-F2A48AAED96F}"/>
                </a:ext>
              </a:extLst>
            </p:cNvPr>
            <p:cNvSpPr>
              <a:spLocks noEditPoints="1"/>
            </p:cNvSpPr>
            <p:nvPr/>
          </p:nvSpPr>
          <p:spPr bwMode="auto">
            <a:xfrm>
              <a:off x="4998"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2" name="Freeform 150">
              <a:extLst>
                <a:ext uri="{FF2B5EF4-FFF2-40B4-BE49-F238E27FC236}">
                  <a16:creationId xmlns:a16="http://schemas.microsoft.com/office/drawing/2014/main" id="{F35591AC-ECAA-6A44-8F99-819ED52E6DAB}"/>
                </a:ext>
              </a:extLst>
            </p:cNvPr>
            <p:cNvSpPr>
              <a:spLocks/>
            </p:cNvSpPr>
            <p:nvPr/>
          </p:nvSpPr>
          <p:spPr bwMode="auto">
            <a:xfrm>
              <a:off x="4970" y="3457"/>
              <a:ext cx="57" cy="55"/>
            </a:xfrm>
            <a:custGeom>
              <a:avLst/>
              <a:gdLst>
                <a:gd name="T0" fmla="*/ 32 w 39"/>
                <a:gd name="T1" fmla="*/ 38 h 38"/>
                <a:gd name="T2" fmla="*/ 28 w 39"/>
                <a:gd name="T3" fmla="*/ 36 h 38"/>
                <a:gd name="T4" fmla="*/ 2 w 39"/>
                <a:gd name="T5" fmla="*/ 11 h 38"/>
                <a:gd name="T6" fmla="*/ 2 w 39"/>
                <a:gd name="T7" fmla="*/ 2 h 38"/>
                <a:gd name="T8" fmla="*/ 11 w 39"/>
                <a:gd name="T9" fmla="*/ 2 h 38"/>
                <a:gd name="T10" fmla="*/ 36 w 39"/>
                <a:gd name="T11" fmla="*/ 28 h 38"/>
                <a:gd name="T12" fmla="*/ 36 w 39"/>
                <a:gd name="T13" fmla="*/ 36 h 38"/>
                <a:gd name="T14" fmla="*/ 32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2" y="38"/>
                  </a:moveTo>
                  <a:cubicBezTo>
                    <a:pt x="30" y="38"/>
                    <a:pt x="29" y="37"/>
                    <a:pt x="28" y="36"/>
                  </a:cubicBezTo>
                  <a:cubicBezTo>
                    <a:pt x="2" y="11"/>
                    <a:pt x="2" y="11"/>
                    <a:pt x="2" y="11"/>
                  </a:cubicBezTo>
                  <a:cubicBezTo>
                    <a:pt x="0" y="8"/>
                    <a:pt x="0" y="4"/>
                    <a:pt x="2" y="2"/>
                  </a:cubicBezTo>
                  <a:cubicBezTo>
                    <a:pt x="5" y="0"/>
                    <a:pt x="8" y="0"/>
                    <a:pt x="11" y="2"/>
                  </a:cubicBezTo>
                  <a:cubicBezTo>
                    <a:pt x="36" y="28"/>
                    <a:pt x="36" y="28"/>
                    <a:pt x="36" y="28"/>
                  </a:cubicBezTo>
                  <a:cubicBezTo>
                    <a:pt x="39" y="30"/>
                    <a:pt x="39" y="34"/>
                    <a:pt x="36" y="36"/>
                  </a:cubicBezTo>
                  <a:cubicBezTo>
                    <a:pt x="35" y="37"/>
                    <a:pt x="33" y="38"/>
                    <a:pt x="3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3" name="Freeform 151">
              <a:extLst>
                <a:ext uri="{FF2B5EF4-FFF2-40B4-BE49-F238E27FC236}">
                  <a16:creationId xmlns:a16="http://schemas.microsoft.com/office/drawing/2014/main" id="{7C40EEF9-FCC2-A541-B120-A45140879919}"/>
                </a:ext>
              </a:extLst>
            </p:cNvPr>
            <p:cNvSpPr>
              <a:spLocks noEditPoints="1"/>
            </p:cNvSpPr>
            <p:nvPr/>
          </p:nvSpPr>
          <p:spPr bwMode="auto">
            <a:xfrm>
              <a:off x="4998"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4" name="Freeform 152">
              <a:extLst>
                <a:ext uri="{FF2B5EF4-FFF2-40B4-BE49-F238E27FC236}">
                  <a16:creationId xmlns:a16="http://schemas.microsoft.com/office/drawing/2014/main" id="{A9892F93-4546-3D4E-B74D-759D573B708D}"/>
                </a:ext>
              </a:extLst>
            </p:cNvPr>
            <p:cNvSpPr>
              <a:spLocks/>
            </p:cNvSpPr>
            <p:nvPr/>
          </p:nvSpPr>
          <p:spPr bwMode="auto">
            <a:xfrm>
              <a:off x="4720" y="3213"/>
              <a:ext cx="75" cy="72"/>
            </a:xfrm>
            <a:custGeom>
              <a:avLst/>
              <a:gdLst>
                <a:gd name="T0" fmla="*/ 44 w 51"/>
                <a:gd name="T1" fmla="*/ 50 h 50"/>
                <a:gd name="T2" fmla="*/ 40 w 51"/>
                <a:gd name="T3" fmla="*/ 48 h 50"/>
                <a:gd name="T4" fmla="*/ 3 w 51"/>
                <a:gd name="T5" fmla="*/ 11 h 50"/>
                <a:gd name="T6" fmla="*/ 2 w 51"/>
                <a:gd name="T7" fmla="*/ 3 h 50"/>
                <a:gd name="T8" fmla="*/ 11 w 51"/>
                <a:gd name="T9" fmla="*/ 3 h 50"/>
                <a:gd name="T10" fmla="*/ 48 w 51"/>
                <a:gd name="T11" fmla="*/ 40 h 50"/>
                <a:gd name="T12" fmla="*/ 48 w 51"/>
                <a:gd name="T13" fmla="*/ 48 h 50"/>
                <a:gd name="T14" fmla="*/ 44 w 51"/>
                <a:gd name="T15" fmla="*/ 5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0">
                  <a:moveTo>
                    <a:pt x="44" y="50"/>
                  </a:moveTo>
                  <a:cubicBezTo>
                    <a:pt x="43" y="50"/>
                    <a:pt x="41" y="49"/>
                    <a:pt x="40" y="48"/>
                  </a:cubicBezTo>
                  <a:cubicBezTo>
                    <a:pt x="3" y="11"/>
                    <a:pt x="3" y="11"/>
                    <a:pt x="3" y="11"/>
                  </a:cubicBezTo>
                  <a:cubicBezTo>
                    <a:pt x="0" y="9"/>
                    <a:pt x="0" y="5"/>
                    <a:pt x="2" y="3"/>
                  </a:cubicBezTo>
                  <a:cubicBezTo>
                    <a:pt x="5" y="0"/>
                    <a:pt x="9" y="0"/>
                    <a:pt x="11" y="3"/>
                  </a:cubicBezTo>
                  <a:cubicBezTo>
                    <a:pt x="48" y="40"/>
                    <a:pt x="48" y="40"/>
                    <a:pt x="48" y="40"/>
                  </a:cubicBezTo>
                  <a:cubicBezTo>
                    <a:pt x="51" y="42"/>
                    <a:pt x="51" y="46"/>
                    <a:pt x="48" y="48"/>
                  </a:cubicBezTo>
                  <a:cubicBezTo>
                    <a:pt x="47" y="49"/>
                    <a:pt x="46" y="50"/>
                    <a:pt x="4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5" name="Freeform 153">
              <a:extLst>
                <a:ext uri="{FF2B5EF4-FFF2-40B4-BE49-F238E27FC236}">
                  <a16:creationId xmlns:a16="http://schemas.microsoft.com/office/drawing/2014/main" id="{FC0B3E8E-2558-BE41-ADEB-7D5023F6BD96}"/>
                </a:ext>
              </a:extLst>
            </p:cNvPr>
            <p:cNvSpPr>
              <a:spLocks noEditPoints="1"/>
            </p:cNvSpPr>
            <p:nvPr/>
          </p:nvSpPr>
          <p:spPr bwMode="auto">
            <a:xfrm>
              <a:off x="4660" y="3155"/>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6" name="Freeform 154">
              <a:extLst>
                <a:ext uri="{FF2B5EF4-FFF2-40B4-BE49-F238E27FC236}">
                  <a16:creationId xmlns:a16="http://schemas.microsoft.com/office/drawing/2014/main" id="{AF5CD9F4-8D4C-B94E-A070-7BA0E2494A4C}"/>
                </a:ext>
              </a:extLst>
            </p:cNvPr>
            <p:cNvSpPr>
              <a:spLocks/>
            </p:cNvSpPr>
            <p:nvPr/>
          </p:nvSpPr>
          <p:spPr bwMode="auto">
            <a:xfrm>
              <a:off x="4721" y="3457"/>
              <a:ext cx="56" cy="55"/>
            </a:xfrm>
            <a:custGeom>
              <a:avLst/>
              <a:gdLst>
                <a:gd name="T0" fmla="*/ 6 w 38"/>
                <a:gd name="T1" fmla="*/ 38 h 38"/>
                <a:gd name="T2" fmla="*/ 2 w 38"/>
                <a:gd name="T3" fmla="*/ 36 h 38"/>
                <a:gd name="T4" fmla="*/ 2 w 38"/>
                <a:gd name="T5" fmla="*/ 28 h 38"/>
                <a:gd name="T6" fmla="*/ 27 w 38"/>
                <a:gd name="T7" fmla="*/ 2 h 38"/>
                <a:gd name="T8" fmla="*/ 36 w 38"/>
                <a:gd name="T9" fmla="*/ 2 h 38"/>
                <a:gd name="T10" fmla="*/ 36 w 38"/>
                <a:gd name="T11" fmla="*/ 11 h 38"/>
                <a:gd name="T12" fmla="*/ 10 w 38"/>
                <a:gd name="T13" fmla="*/ 36 h 38"/>
                <a:gd name="T14" fmla="*/ 6 w 38"/>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6" y="38"/>
                  </a:moveTo>
                  <a:cubicBezTo>
                    <a:pt x="5" y="38"/>
                    <a:pt x="3" y="37"/>
                    <a:pt x="2" y="36"/>
                  </a:cubicBezTo>
                  <a:cubicBezTo>
                    <a:pt x="0" y="34"/>
                    <a:pt x="0" y="30"/>
                    <a:pt x="2" y="28"/>
                  </a:cubicBezTo>
                  <a:cubicBezTo>
                    <a:pt x="27" y="2"/>
                    <a:pt x="27" y="2"/>
                    <a:pt x="27" y="2"/>
                  </a:cubicBezTo>
                  <a:cubicBezTo>
                    <a:pt x="30" y="0"/>
                    <a:pt x="33" y="0"/>
                    <a:pt x="36" y="2"/>
                  </a:cubicBezTo>
                  <a:cubicBezTo>
                    <a:pt x="38" y="4"/>
                    <a:pt x="38" y="8"/>
                    <a:pt x="36" y="11"/>
                  </a:cubicBezTo>
                  <a:cubicBezTo>
                    <a:pt x="10" y="36"/>
                    <a:pt x="10" y="36"/>
                    <a:pt x="10" y="36"/>
                  </a:cubicBezTo>
                  <a:cubicBezTo>
                    <a:pt x="9" y="37"/>
                    <a:pt x="8"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7" name="Freeform 155">
              <a:extLst>
                <a:ext uri="{FF2B5EF4-FFF2-40B4-BE49-F238E27FC236}">
                  <a16:creationId xmlns:a16="http://schemas.microsoft.com/office/drawing/2014/main" id="{B1B15CB0-A7E5-BC4F-A0BC-F0DE234CCD0C}"/>
                </a:ext>
              </a:extLst>
            </p:cNvPr>
            <p:cNvSpPr>
              <a:spLocks noEditPoints="1"/>
            </p:cNvSpPr>
            <p:nvPr/>
          </p:nvSpPr>
          <p:spPr bwMode="auto">
            <a:xfrm>
              <a:off x="4660" y="3485"/>
              <a:ext cx="89" cy="86"/>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8" name="Freeform 156">
              <a:extLst>
                <a:ext uri="{FF2B5EF4-FFF2-40B4-BE49-F238E27FC236}">
                  <a16:creationId xmlns:a16="http://schemas.microsoft.com/office/drawing/2014/main" id="{67AB54EA-1D00-BA41-A554-14265C9BADB6}"/>
                </a:ext>
              </a:extLst>
            </p:cNvPr>
            <p:cNvSpPr>
              <a:spLocks/>
            </p:cNvSpPr>
            <p:nvPr/>
          </p:nvSpPr>
          <p:spPr bwMode="auto">
            <a:xfrm>
              <a:off x="4944" y="3346"/>
              <a:ext cx="72"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79" name="Freeform 157">
              <a:extLst>
                <a:ext uri="{FF2B5EF4-FFF2-40B4-BE49-F238E27FC236}">
                  <a16:creationId xmlns:a16="http://schemas.microsoft.com/office/drawing/2014/main" id="{7CFDB85D-494A-024F-86F2-B6983F221C93}"/>
                </a:ext>
              </a:extLst>
            </p:cNvPr>
            <p:cNvSpPr>
              <a:spLocks noEditPoints="1"/>
            </p:cNvSpPr>
            <p:nvPr/>
          </p:nvSpPr>
          <p:spPr bwMode="auto">
            <a:xfrm>
              <a:off x="4998"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0" name="Freeform 158">
              <a:extLst>
                <a:ext uri="{FF2B5EF4-FFF2-40B4-BE49-F238E27FC236}">
                  <a16:creationId xmlns:a16="http://schemas.microsoft.com/office/drawing/2014/main" id="{29B1044C-E2D2-6641-83C4-F6039E8C3EAB}"/>
                </a:ext>
              </a:extLst>
            </p:cNvPr>
            <p:cNvSpPr>
              <a:spLocks/>
            </p:cNvSpPr>
            <p:nvPr/>
          </p:nvSpPr>
          <p:spPr bwMode="auto">
            <a:xfrm>
              <a:off x="4731" y="3346"/>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2"/>
                    <a:pt x="3"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1" name="Freeform 159">
              <a:extLst>
                <a:ext uri="{FF2B5EF4-FFF2-40B4-BE49-F238E27FC236}">
                  <a16:creationId xmlns:a16="http://schemas.microsoft.com/office/drawing/2014/main" id="{D04495BF-6265-7A4F-9624-AF37EE9A7BE3}"/>
                </a:ext>
              </a:extLst>
            </p:cNvPr>
            <p:cNvSpPr>
              <a:spLocks noEditPoints="1"/>
            </p:cNvSpPr>
            <p:nvPr/>
          </p:nvSpPr>
          <p:spPr bwMode="auto">
            <a:xfrm>
              <a:off x="4660" y="3311"/>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2" name="Oval 160">
              <a:extLst>
                <a:ext uri="{FF2B5EF4-FFF2-40B4-BE49-F238E27FC236}">
                  <a16:creationId xmlns:a16="http://schemas.microsoft.com/office/drawing/2014/main" id="{0DCD1D92-34C0-2940-9188-97E05488F343}"/>
                </a:ext>
              </a:extLst>
            </p:cNvPr>
            <p:cNvSpPr>
              <a:spLocks noChangeArrowheads="1"/>
            </p:cNvSpPr>
            <p:nvPr/>
          </p:nvSpPr>
          <p:spPr bwMode="auto">
            <a:xfrm>
              <a:off x="4850" y="3434"/>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83" name="Freeform 161">
              <a:extLst>
                <a:ext uri="{FF2B5EF4-FFF2-40B4-BE49-F238E27FC236}">
                  <a16:creationId xmlns:a16="http://schemas.microsoft.com/office/drawing/2014/main" id="{7619177A-DB0B-F247-9FF6-F0476A03D96B}"/>
                </a:ext>
              </a:extLst>
            </p:cNvPr>
            <p:cNvSpPr>
              <a:spLocks/>
            </p:cNvSpPr>
            <p:nvPr/>
          </p:nvSpPr>
          <p:spPr bwMode="auto">
            <a:xfrm>
              <a:off x="4811" y="3275"/>
              <a:ext cx="107" cy="146"/>
            </a:xfrm>
            <a:custGeom>
              <a:avLst/>
              <a:gdLst>
                <a:gd name="T0" fmla="*/ 36 w 72"/>
                <a:gd name="T1" fmla="*/ 101 h 101"/>
                <a:gd name="T2" fmla="*/ 30 w 72"/>
                <a:gd name="T3" fmla="*/ 95 h 101"/>
                <a:gd name="T4" fmla="*/ 30 w 72"/>
                <a:gd name="T5" fmla="*/ 65 h 101"/>
                <a:gd name="T6" fmla="*/ 36 w 72"/>
                <a:gd name="T7" fmla="*/ 59 h 101"/>
                <a:gd name="T8" fmla="*/ 60 w 72"/>
                <a:gd name="T9" fmla="*/ 36 h 101"/>
                <a:gd name="T10" fmla="*/ 36 w 72"/>
                <a:gd name="T11" fmla="*/ 12 h 101"/>
                <a:gd name="T12" fmla="*/ 12 w 72"/>
                <a:gd name="T13" fmla="*/ 36 h 101"/>
                <a:gd name="T14" fmla="*/ 6 w 72"/>
                <a:gd name="T15" fmla="*/ 42 h 101"/>
                <a:gd name="T16" fmla="*/ 0 w 72"/>
                <a:gd name="T17" fmla="*/ 36 h 101"/>
                <a:gd name="T18" fmla="*/ 36 w 72"/>
                <a:gd name="T19" fmla="*/ 0 h 101"/>
                <a:gd name="T20" fmla="*/ 72 w 72"/>
                <a:gd name="T21" fmla="*/ 36 h 101"/>
                <a:gd name="T22" fmla="*/ 42 w 72"/>
                <a:gd name="T23" fmla="*/ 71 h 101"/>
                <a:gd name="T24" fmla="*/ 42 w 72"/>
                <a:gd name="T25" fmla="*/ 95 h 101"/>
                <a:gd name="T26" fmla="*/ 36 w 72"/>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101">
                  <a:moveTo>
                    <a:pt x="36" y="101"/>
                  </a:moveTo>
                  <a:cubicBezTo>
                    <a:pt x="33" y="101"/>
                    <a:pt x="30" y="99"/>
                    <a:pt x="30" y="95"/>
                  </a:cubicBezTo>
                  <a:cubicBezTo>
                    <a:pt x="30" y="65"/>
                    <a:pt x="30" y="65"/>
                    <a:pt x="30" y="65"/>
                  </a:cubicBezTo>
                  <a:cubicBezTo>
                    <a:pt x="30" y="62"/>
                    <a:pt x="33" y="59"/>
                    <a:pt x="36" y="59"/>
                  </a:cubicBezTo>
                  <a:cubicBezTo>
                    <a:pt x="49" y="59"/>
                    <a:pt x="60" y="49"/>
                    <a:pt x="60" y="36"/>
                  </a:cubicBezTo>
                  <a:cubicBezTo>
                    <a:pt x="60" y="23"/>
                    <a:pt x="49" y="12"/>
                    <a:pt x="36" y="12"/>
                  </a:cubicBezTo>
                  <a:cubicBezTo>
                    <a:pt x="23" y="12"/>
                    <a:pt x="12" y="23"/>
                    <a:pt x="12" y="36"/>
                  </a:cubicBezTo>
                  <a:cubicBezTo>
                    <a:pt x="12" y="39"/>
                    <a:pt x="10" y="42"/>
                    <a:pt x="6" y="42"/>
                  </a:cubicBezTo>
                  <a:cubicBezTo>
                    <a:pt x="3" y="42"/>
                    <a:pt x="0" y="39"/>
                    <a:pt x="0" y="36"/>
                  </a:cubicBezTo>
                  <a:cubicBezTo>
                    <a:pt x="0" y="16"/>
                    <a:pt x="16" y="0"/>
                    <a:pt x="36" y="0"/>
                  </a:cubicBezTo>
                  <a:cubicBezTo>
                    <a:pt x="56" y="0"/>
                    <a:pt x="72" y="16"/>
                    <a:pt x="72" y="36"/>
                  </a:cubicBezTo>
                  <a:cubicBezTo>
                    <a:pt x="72" y="53"/>
                    <a:pt x="59" y="68"/>
                    <a:pt x="42" y="71"/>
                  </a:cubicBezTo>
                  <a:cubicBezTo>
                    <a:pt x="42" y="95"/>
                    <a:pt x="42" y="95"/>
                    <a:pt x="42" y="95"/>
                  </a:cubicBezTo>
                  <a:cubicBezTo>
                    <a:pt x="42" y="99"/>
                    <a:pt x="39" y="101"/>
                    <a:pt x="36"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85" name="Group 98">
            <a:extLst>
              <a:ext uri="{FF2B5EF4-FFF2-40B4-BE49-F238E27FC236}">
                <a16:creationId xmlns:a16="http://schemas.microsoft.com/office/drawing/2014/main" id="{7C33E39D-1B8D-8E4E-9D4F-DA8DD65CA1F9}"/>
              </a:ext>
            </a:extLst>
          </p:cNvPr>
          <p:cNvGrpSpPr>
            <a:grpSpLocks noChangeAspect="1"/>
          </p:cNvGrpSpPr>
          <p:nvPr userDrawn="1"/>
        </p:nvGrpSpPr>
        <p:grpSpPr bwMode="auto">
          <a:xfrm>
            <a:off x="3323794" y="4324704"/>
            <a:ext cx="503382" cy="466750"/>
            <a:chOff x="348" y="3011"/>
            <a:chExt cx="426" cy="395"/>
          </a:xfrm>
          <a:solidFill>
            <a:schemeClr val="accent1"/>
          </a:solidFill>
        </p:grpSpPr>
        <p:sp>
          <p:nvSpPr>
            <p:cNvPr id="186" name="Freeform 99">
              <a:extLst>
                <a:ext uri="{FF2B5EF4-FFF2-40B4-BE49-F238E27FC236}">
                  <a16:creationId xmlns:a16="http://schemas.microsoft.com/office/drawing/2014/main" id="{AD8832E6-74B8-124A-AD34-263F9478BAD9}"/>
                </a:ext>
              </a:extLst>
            </p:cNvPr>
            <p:cNvSpPr>
              <a:spLocks noEditPoints="1"/>
            </p:cNvSpPr>
            <p:nvPr/>
          </p:nvSpPr>
          <p:spPr bwMode="auto">
            <a:xfrm>
              <a:off x="348" y="3011"/>
              <a:ext cx="426" cy="395"/>
            </a:xfrm>
            <a:custGeom>
              <a:avLst/>
              <a:gdLst>
                <a:gd name="T0" fmla="*/ 16 w 288"/>
                <a:gd name="T1" fmla="*/ 267 h 267"/>
                <a:gd name="T2" fmla="*/ 12 w 288"/>
                <a:gd name="T3" fmla="*/ 265 h 267"/>
                <a:gd name="T4" fmla="*/ 11 w 288"/>
                <a:gd name="T5" fmla="*/ 258 h 267"/>
                <a:gd name="T6" fmla="*/ 40 w 288"/>
                <a:gd name="T7" fmla="*/ 201 h 267"/>
                <a:gd name="T8" fmla="*/ 0 w 288"/>
                <a:gd name="T9" fmla="*/ 119 h 267"/>
                <a:gd name="T10" fmla="*/ 144 w 288"/>
                <a:gd name="T11" fmla="*/ 0 h 267"/>
                <a:gd name="T12" fmla="*/ 288 w 288"/>
                <a:gd name="T13" fmla="*/ 119 h 267"/>
                <a:gd name="T14" fmla="*/ 144 w 288"/>
                <a:gd name="T15" fmla="*/ 237 h 267"/>
                <a:gd name="T16" fmla="*/ 96 w 288"/>
                <a:gd name="T17" fmla="*/ 231 h 267"/>
                <a:gd name="T18" fmla="*/ 19 w 288"/>
                <a:gd name="T19" fmla="*/ 267 h 267"/>
                <a:gd name="T20" fmla="*/ 16 w 288"/>
                <a:gd name="T21" fmla="*/ 267 h 267"/>
                <a:gd name="T22" fmla="*/ 144 w 288"/>
                <a:gd name="T23" fmla="*/ 12 h 267"/>
                <a:gd name="T24" fmla="*/ 12 w 288"/>
                <a:gd name="T25" fmla="*/ 119 h 267"/>
                <a:gd name="T26" fmla="*/ 51 w 288"/>
                <a:gd name="T27" fmla="*/ 194 h 267"/>
                <a:gd name="T28" fmla="*/ 52 w 288"/>
                <a:gd name="T29" fmla="*/ 202 h 267"/>
                <a:gd name="T30" fmla="*/ 29 w 288"/>
                <a:gd name="T31" fmla="*/ 248 h 267"/>
                <a:gd name="T32" fmla="*/ 93 w 288"/>
                <a:gd name="T33" fmla="*/ 219 h 267"/>
                <a:gd name="T34" fmla="*/ 97 w 288"/>
                <a:gd name="T35" fmla="*/ 218 h 267"/>
                <a:gd name="T36" fmla="*/ 144 w 288"/>
                <a:gd name="T37" fmla="*/ 225 h 267"/>
                <a:gd name="T38" fmla="*/ 276 w 288"/>
                <a:gd name="T39" fmla="*/ 119 h 267"/>
                <a:gd name="T40" fmla="*/ 144 w 288"/>
                <a:gd name="T41" fmla="*/ 1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267">
                  <a:moveTo>
                    <a:pt x="16" y="267"/>
                  </a:moveTo>
                  <a:cubicBezTo>
                    <a:pt x="14" y="267"/>
                    <a:pt x="13" y="267"/>
                    <a:pt x="12" y="265"/>
                  </a:cubicBezTo>
                  <a:cubicBezTo>
                    <a:pt x="10" y="263"/>
                    <a:pt x="9" y="261"/>
                    <a:pt x="11" y="258"/>
                  </a:cubicBezTo>
                  <a:cubicBezTo>
                    <a:pt x="40" y="201"/>
                    <a:pt x="40" y="201"/>
                    <a:pt x="40" y="201"/>
                  </a:cubicBezTo>
                  <a:cubicBezTo>
                    <a:pt x="14" y="179"/>
                    <a:pt x="0" y="150"/>
                    <a:pt x="0" y="119"/>
                  </a:cubicBezTo>
                  <a:cubicBezTo>
                    <a:pt x="0" y="53"/>
                    <a:pt x="64" y="0"/>
                    <a:pt x="144" y="0"/>
                  </a:cubicBezTo>
                  <a:cubicBezTo>
                    <a:pt x="223" y="0"/>
                    <a:pt x="288" y="53"/>
                    <a:pt x="288" y="119"/>
                  </a:cubicBezTo>
                  <a:cubicBezTo>
                    <a:pt x="288" y="184"/>
                    <a:pt x="223" y="237"/>
                    <a:pt x="144" y="237"/>
                  </a:cubicBezTo>
                  <a:cubicBezTo>
                    <a:pt x="127" y="237"/>
                    <a:pt x="111" y="235"/>
                    <a:pt x="96" y="231"/>
                  </a:cubicBezTo>
                  <a:cubicBezTo>
                    <a:pt x="19" y="267"/>
                    <a:pt x="19" y="267"/>
                    <a:pt x="19" y="267"/>
                  </a:cubicBezTo>
                  <a:cubicBezTo>
                    <a:pt x="18" y="267"/>
                    <a:pt x="17" y="267"/>
                    <a:pt x="16" y="267"/>
                  </a:cubicBezTo>
                  <a:close/>
                  <a:moveTo>
                    <a:pt x="144" y="12"/>
                  </a:moveTo>
                  <a:cubicBezTo>
                    <a:pt x="71" y="12"/>
                    <a:pt x="12" y="60"/>
                    <a:pt x="12" y="119"/>
                  </a:cubicBezTo>
                  <a:cubicBezTo>
                    <a:pt x="12" y="147"/>
                    <a:pt x="26" y="174"/>
                    <a:pt x="51" y="194"/>
                  </a:cubicBezTo>
                  <a:cubicBezTo>
                    <a:pt x="53" y="196"/>
                    <a:pt x="54" y="199"/>
                    <a:pt x="52" y="202"/>
                  </a:cubicBezTo>
                  <a:cubicBezTo>
                    <a:pt x="29" y="248"/>
                    <a:pt x="29" y="248"/>
                    <a:pt x="29" y="248"/>
                  </a:cubicBezTo>
                  <a:cubicBezTo>
                    <a:pt x="93" y="219"/>
                    <a:pt x="93" y="219"/>
                    <a:pt x="93" y="219"/>
                  </a:cubicBezTo>
                  <a:cubicBezTo>
                    <a:pt x="94" y="218"/>
                    <a:pt x="96" y="218"/>
                    <a:pt x="97" y="218"/>
                  </a:cubicBezTo>
                  <a:cubicBezTo>
                    <a:pt x="112" y="223"/>
                    <a:pt x="128" y="225"/>
                    <a:pt x="144" y="225"/>
                  </a:cubicBezTo>
                  <a:cubicBezTo>
                    <a:pt x="216" y="225"/>
                    <a:pt x="276" y="178"/>
                    <a:pt x="276" y="119"/>
                  </a:cubicBezTo>
                  <a:cubicBezTo>
                    <a:pt x="276" y="60"/>
                    <a:pt x="216"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7" name="Freeform 100">
              <a:extLst>
                <a:ext uri="{FF2B5EF4-FFF2-40B4-BE49-F238E27FC236}">
                  <a16:creationId xmlns:a16="http://schemas.microsoft.com/office/drawing/2014/main" id="{8A44DBE0-E9B2-D848-B6E3-CCE472D440A2}"/>
                </a:ext>
              </a:extLst>
            </p:cNvPr>
            <p:cNvSpPr>
              <a:spLocks/>
            </p:cNvSpPr>
            <p:nvPr/>
          </p:nvSpPr>
          <p:spPr bwMode="auto">
            <a:xfrm>
              <a:off x="508" y="3092"/>
              <a:ext cx="124" cy="145"/>
            </a:xfrm>
            <a:custGeom>
              <a:avLst/>
              <a:gdLst>
                <a:gd name="T0" fmla="*/ 42 w 84"/>
                <a:gd name="T1" fmla="*/ 98 h 98"/>
                <a:gd name="T2" fmla="*/ 36 w 84"/>
                <a:gd name="T3" fmla="*/ 92 h 98"/>
                <a:gd name="T4" fmla="*/ 36 w 84"/>
                <a:gd name="T5" fmla="*/ 77 h 98"/>
                <a:gd name="T6" fmla="*/ 42 w 84"/>
                <a:gd name="T7" fmla="*/ 71 h 98"/>
                <a:gd name="T8" fmla="*/ 72 w 84"/>
                <a:gd name="T9" fmla="*/ 42 h 98"/>
                <a:gd name="T10" fmla="*/ 42 w 84"/>
                <a:gd name="T11" fmla="*/ 12 h 98"/>
                <a:gd name="T12" fmla="*/ 12 w 84"/>
                <a:gd name="T13" fmla="*/ 43 h 98"/>
                <a:gd name="T14" fmla="*/ 6 w 84"/>
                <a:gd name="T15" fmla="*/ 49 h 98"/>
                <a:gd name="T16" fmla="*/ 0 w 84"/>
                <a:gd name="T17" fmla="*/ 43 h 98"/>
                <a:gd name="T18" fmla="*/ 42 w 84"/>
                <a:gd name="T19" fmla="*/ 0 h 98"/>
                <a:gd name="T20" fmla="*/ 84 w 84"/>
                <a:gd name="T21" fmla="*/ 42 h 98"/>
                <a:gd name="T22" fmla="*/ 48 w 84"/>
                <a:gd name="T23" fmla="*/ 83 h 98"/>
                <a:gd name="T24" fmla="*/ 48 w 84"/>
                <a:gd name="T25" fmla="*/ 92 h 98"/>
                <a:gd name="T26" fmla="*/ 42 w 84"/>
                <a:gd name="T2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8">
                  <a:moveTo>
                    <a:pt x="42" y="98"/>
                  </a:moveTo>
                  <a:cubicBezTo>
                    <a:pt x="38" y="98"/>
                    <a:pt x="36" y="95"/>
                    <a:pt x="36" y="92"/>
                  </a:cubicBezTo>
                  <a:cubicBezTo>
                    <a:pt x="36" y="77"/>
                    <a:pt x="36" y="77"/>
                    <a:pt x="36" y="77"/>
                  </a:cubicBezTo>
                  <a:cubicBezTo>
                    <a:pt x="36" y="74"/>
                    <a:pt x="38" y="71"/>
                    <a:pt x="42" y="71"/>
                  </a:cubicBezTo>
                  <a:cubicBezTo>
                    <a:pt x="58" y="71"/>
                    <a:pt x="72" y="58"/>
                    <a:pt x="72" y="42"/>
                  </a:cubicBezTo>
                  <a:cubicBezTo>
                    <a:pt x="72" y="25"/>
                    <a:pt x="58" y="12"/>
                    <a:pt x="42" y="12"/>
                  </a:cubicBezTo>
                  <a:cubicBezTo>
                    <a:pt x="25" y="12"/>
                    <a:pt x="12" y="26"/>
                    <a:pt x="12" y="43"/>
                  </a:cubicBezTo>
                  <a:cubicBezTo>
                    <a:pt x="12" y="46"/>
                    <a:pt x="9" y="49"/>
                    <a:pt x="6" y="49"/>
                  </a:cubicBezTo>
                  <a:cubicBezTo>
                    <a:pt x="2" y="49"/>
                    <a:pt x="0" y="46"/>
                    <a:pt x="0" y="43"/>
                  </a:cubicBezTo>
                  <a:cubicBezTo>
                    <a:pt x="0" y="19"/>
                    <a:pt x="18" y="0"/>
                    <a:pt x="42" y="0"/>
                  </a:cubicBezTo>
                  <a:cubicBezTo>
                    <a:pt x="65" y="0"/>
                    <a:pt x="84" y="19"/>
                    <a:pt x="84" y="42"/>
                  </a:cubicBezTo>
                  <a:cubicBezTo>
                    <a:pt x="84" y="62"/>
                    <a:pt x="68" y="80"/>
                    <a:pt x="48" y="83"/>
                  </a:cubicBezTo>
                  <a:cubicBezTo>
                    <a:pt x="48" y="92"/>
                    <a:pt x="48" y="92"/>
                    <a:pt x="48" y="92"/>
                  </a:cubicBezTo>
                  <a:cubicBezTo>
                    <a:pt x="48" y="95"/>
                    <a:pt x="45" y="98"/>
                    <a:pt x="42"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88" name="Oval 101">
              <a:extLst>
                <a:ext uri="{FF2B5EF4-FFF2-40B4-BE49-F238E27FC236}">
                  <a16:creationId xmlns:a16="http://schemas.microsoft.com/office/drawing/2014/main" id="{AC4C9687-F04A-6D47-9FC0-46BA1393FC91}"/>
                </a:ext>
              </a:extLst>
            </p:cNvPr>
            <p:cNvSpPr>
              <a:spLocks noChangeArrowheads="1"/>
            </p:cNvSpPr>
            <p:nvPr/>
          </p:nvSpPr>
          <p:spPr bwMode="auto">
            <a:xfrm>
              <a:off x="552" y="3250"/>
              <a:ext cx="36" cy="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189" name="Group 133">
            <a:extLst>
              <a:ext uri="{FF2B5EF4-FFF2-40B4-BE49-F238E27FC236}">
                <a16:creationId xmlns:a16="http://schemas.microsoft.com/office/drawing/2014/main" id="{E59F227F-CDAA-2645-BBA5-7162A1A03A93}"/>
              </a:ext>
            </a:extLst>
          </p:cNvPr>
          <p:cNvGrpSpPr>
            <a:grpSpLocks noChangeAspect="1"/>
          </p:cNvGrpSpPr>
          <p:nvPr userDrawn="1"/>
        </p:nvGrpSpPr>
        <p:grpSpPr bwMode="auto">
          <a:xfrm>
            <a:off x="769996" y="4304038"/>
            <a:ext cx="508082" cy="508082"/>
            <a:chOff x="5508" y="2995"/>
            <a:chExt cx="427" cy="427"/>
          </a:xfrm>
          <a:solidFill>
            <a:schemeClr val="accent1"/>
          </a:solidFill>
        </p:grpSpPr>
        <p:sp>
          <p:nvSpPr>
            <p:cNvPr id="190" name="Freeform 134">
              <a:extLst>
                <a:ext uri="{FF2B5EF4-FFF2-40B4-BE49-F238E27FC236}">
                  <a16:creationId xmlns:a16="http://schemas.microsoft.com/office/drawing/2014/main" id="{B7172BEF-887A-9048-B469-007E20F8BE58}"/>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1" name="Rectangle 135">
              <a:extLst>
                <a:ext uri="{FF2B5EF4-FFF2-40B4-BE49-F238E27FC236}">
                  <a16:creationId xmlns:a16="http://schemas.microsoft.com/office/drawing/2014/main" id="{1FB3B654-0FC6-174C-A116-B31706E9D7D9}"/>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2" name="Rectangle 136">
              <a:extLst>
                <a:ext uri="{FF2B5EF4-FFF2-40B4-BE49-F238E27FC236}">
                  <a16:creationId xmlns:a16="http://schemas.microsoft.com/office/drawing/2014/main" id="{9946ABE7-23E6-9B4E-B0D7-4ECCCED32AED}"/>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3" name="Rectangle 137">
              <a:extLst>
                <a:ext uri="{FF2B5EF4-FFF2-40B4-BE49-F238E27FC236}">
                  <a16:creationId xmlns:a16="http://schemas.microsoft.com/office/drawing/2014/main" id="{39F0F16D-8FEF-344E-AADA-A92E5B937DBD}"/>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194" name="Freeform 138">
              <a:extLst>
                <a:ext uri="{FF2B5EF4-FFF2-40B4-BE49-F238E27FC236}">
                  <a16:creationId xmlns:a16="http://schemas.microsoft.com/office/drawing/2014/main" id="{FDA36911-8FD6-754B-8C4F-BF81FB3448D3}"/>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0" name="Group 128">
            <a:extLst>
              <a:ext uri="{FF2B5EF4-FFF2-40B4-BE49-F238E27FC236}">
                <a16:creationId xmlns:a16="http://schemas.microsoft.com/office/drawing/2014/main" id="{22F35C7D-7426-D643-BA01-1D590EC15894}"/>
              </a:ext>
            </a:extLst>
          </p:cNvPr>
          <p:cNvGrpSpPr>
            <a:grpSpLocks noChangeAspect="1"/>
          </p:cNvGrpSpPr>
          <p:nvPr userDrawn="1"/>
        </p:nvGrpSpPr>
        <p:grpSpPr bwMode="auto">
          <a:xfrm>
            <a:off x="2055661" y="4309988"/>
            <a:ext cx="506890" cy="496182"/>
            <a:chOff x="4478" y="2999"/>
            <a:chExt cx="426" cy="417"/>
          </a:xfrm>
          <a:solidFill>
            <a:schemeClr val="accent1"/>
          </a:solidFill>
        </p:grpSpPr>
        <p:sp>
          <p:nvSpPr>
            <p:cNvPr id="211" name="Freeform 129">
              <a:extLst>
                <a:ext uri="{FF2B5EF4-FFF2-40B4-BE49-F238E27FC236}">
                  <a16:creationId xmlns:a16="http://schemas.microsoft.com/office/drawing/2014/main" id="{EB8F390E-DD96-5545-9F4B-5D56F498E4C2}"/>
                </a:ext>
              </a:extLst>
            </p:cNvPr>
            <p:cNvSpPr>
              <a:spLocks/>
            </p:cNvSpPr>
            <p:nvPr/>
          </p:nvSpPr>
          <p:spPr bwMode="auto">
            <a:xfrm>
              <a:off x="4478" y="2999"/>
              <a:ext cx="320" cy="293"/>
            </a:xfrm>
            <a:custGeom>
              <a:avLst/>
              <a:gdLst>
                <a:gd name="T0" fmla="*/ 12 w 216"/>
                <a:gd name="T1" fmla="*/ 198 h 198"/>
                <a:gd name="T2" fmla="*/ 7 w 216"/>
                <a:gd name="T3" fmla="*/ 196 h 198"/>
                <a:gd name="T4" fmla="*/ 6 w 216"/>
                <a:gd name="T5" fmla="*/ 189 h 198"/>
                <a:gd name="T6" fmla="*/ 28 w 216"/>
                <a:gd name="T7" fmla="*/ 151 h 198"/>
                <a:gd name="T8" fmla="*/ 0 w 216"/>
                <a:gd name="T9" fmla="*/ 89 h 198"/>
                <a:gd name="T10" fmla="*/ 108 w 216"/>
                <a:gd name="T11" fmla="*/ 0 h 198"/>
                <a:gd name="T12" fmla="*/ 216 w 216"/>
                <a:gd name="T13" fmla="*/ 89 h 198"/>
                <a:gd name="T14" fmla="*/ 204 w 216"/>
                <a:gd name="T15" fmla="*/ 89 h 198"/>
                <a:gd name="T16" fmla="*/ 108 w 216"/>
                <a:gd name="T17" fmla="*/ 12 h 198"/>
                <a:gd name="T18" fmla="*/ 12 w 216"/>
                <a:gd name="T19" fmla="*/ 89 h 198"/>
                <a:gd name="T20" fmla="*/ 39 w 216"/>
                <a:gd name="T21" fmla="*/ 145 h 198"/>
                <a:gd name="T22" fmla="*/ 41 w 216"/>
                <a:gd name="T23" fmla="*/ 153 h 198"/>
                <a:gd name="T24" fmla="*/ 25 w 216"/>
                <a:gd name="T25" fmla="*/ 180 h 198"/>
                <a:gd name="T26" fmla="*/ 69 w 216"/>
                <a:gd name="T27" fmla="*/ 162 h 198"/>
                <a:gd name="T28" fmla="*/ 73 w 216"/>
                <a:gd name="T29" fmla="*/ 162 h 198"/>
                <a:gd name="T30" fmla="*/ 90 w 216"/>
                <a:gd name="T31" fmla="*/ 166 h 198"/>
                <a:gd name="T32" fmla="*/ 88 w 216"/>
                <a:gd name="T33" fmla="*/ 178 h 198"/>
                <a:gd name="T34" fmla="*/ 72 w 216"/>
                <a:gd name="T35" fmla="*/ 174 h 198"/>
                <a:gd name="T36" fmla="*/ 14 w 216"/>
                <a:gd name="T37" fmla="*/ 198 h 198"/>
                <a:gd name="T38" fmla="*/ 12 w 216"/>
                <a:gd name="T3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98">
                  <a:moveTo>
                    <a:pt x="12" y="198"/>
                  </a:moveTo>
                  <a:cubicBezTo>
                    <a:pt x="10" y="198"/>
                    <a:pt x="8" y="197"/>
                    <a:pt x="7" y="196"/>
                  </a:cubicBezTo>
                  <a:cubicBezTo>
                    <a:pt x="5" y="194"/>
                    <a:pt x="5" y="191"/>
                    <a:pt x="6" y="189"/>
                  </a:cubicBezTo>
                  <a:cubicBezTo>
                    <a:pt x="28" y="151"/>
                    <a:pt x="28" y="151"/>
                    <a:pt x="28" y="151"/>
                  </a:cubicBezTo>
                  <a:cubicBezTo>
                    <a:pt x="10" y="135"/>
                    <a:pt x="0" y="113"/>
                    <a:pt x="0" y="89"/>
                  </a:cubicBezTo>
                  <a:cubicBezTo>
                    <a:pt x="0" y="40"/>
                    <a:pt x="48" y="0"/>
                    <a:pt x="108" y="0"/>
                  </a:cubicBezTo>
                  <a:cubicBezTo>
                    <a:pt x="167" y="0"/>
                    <a:pt x="216" y="40"/>
                    <a:pt x="216" y="89"/>
                  </a:cubicBezTo>
                  <a:cubicBezTo>
                    <a:pt x="204" y="89"/>
                    <a:pt x="204" y="89"/>
                    <a:pt x="204" y="89"/>
                  </a:cubicBezTo>
                  <a:cubicBezTo>
                    <a:pt x="204" y="47"/>
                    <a:pt x="161" y="12"/>
                    <a:pt x="108" y="12"/>
                  </a:cubicBezTo>
                  <a:cubicBezTo>
                    <a:pt x="55" y="12"/>
                    <a:pt x="12" y="47"/>
                    <a:pt x="12" y="89"/>
                  </a:cubicBezTo>
                  <a:cubicBezTo>
                    <a:pt x="12" y="111"/>
                    <a:pt x="22" y="131"/>
                    <a:pt x="39" y="145"/>
                  </a:cubicBezTo>
                  <a:cubicBezTo>
                    <a:pt x="42" y="147"/>
                    <a:pt x="42" y="150"/>
                    <a:pt x="41" y="153"/>
                  </a:cubicBezTo>
                  <a:cubicBezTo>
                    <a:pt x="25" y="180"/>
                    <a:pt x="25" y="180"/>
                    <a:pt x="25" y="180"/>
                  </a:cubicBezTo>
                  <a:cubicBezTo>
                    <a:pt x="69" y="162"/>
                    <a:pt x="69" y="162"/>
                    <a:pt x="69" y="162"/>
                  </a:cubicBezTo>
                  <a:cubicBezTo>
                    <a:pt x="71" y="162"/>
                    <a:pt x="72" y="162"/>
                    <a:pt x="73" y="162"/>
                  </a:cubicBezTo>
                  <a:cubicBezTo>
                    <a:pt x="79" y="164"/>
                    <a:pt x="84" y="165"/>
                    <a:pt x="90" y="166"/>
                  </a:cubicBezTo>
                  <a:cubicBezTo>
                    <a:pt x="88" y="178"/>
                    <a:pt x="88" y="178"/>
                    <a:pt x="88" y="178"/>
                  </a:cubicBezTo>
                  <a:cubicBezTo>
                    <a:pt x="83" y="177"/>
                    <a:pt x="77" y="176"/>
                    <a:pt x="72" y="174"/>
                  </a:cubicBezTo>
                  <a:cubicBezTo>
                    <a:pt x="14" y="198"/>
                    <a:pt x="14" y="198"/>
                    <a:pt x="14" y="198"/>
                  </a:cubicBezTo>
                  <a:cubicBezTo>
                    <a:pt x="13" y="198"/>
                    <a:pt x="12" y="198"/>
                    <a:pt x="12"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12" name="Freeform 130">
              <a:extLst>
                <a:ext uri="{FF2B5EF4-FFF2-40B4-BE49-F238E27FC236}">
                  <a16:creationId xmlns:a16="http://schemas.microsoft.com/office/drawing/2014/main" id="{7E54516C-265B-F84F-9AC7-C2472BCC10ED}"/>
                </a:ext>
              </a:extLst>
            </p:cNvPr>
            <p:cNvSpPr>
              <a:spLocks noEditPoints="1"/>
            </p:cNvSpPr>
            <p:nvPr/>
          </p:nvSpPr>
          <p:spPr bwMode="auto">
            <a:xfrm>
              <a:off x="4638" y="3167"/>
              <a:ext cx="266" cy="249"/>
            </a:xfrm>
            <a:custGeom>
              <a:avLst/>
              <a:gdLst>
                <a:gd name="T0" fmla="*/ 168 w 180"/>
                <a:gd name="T1" fmla="*/ 168 h 168"/>
                <a:gd name="T2" fmla="*/ 166 w 180"/>
                <a:gd name="T3" fmla="*/ 168 h 168"/>
                <a:gd name="T4" fmla="*/ 120 w 180"/>
                <a:gd name="T5" fmla="*/ 151 h 168"/>
                <a:gd name="T6" fmla="*/ 37 w 180"/>
                <a:gd name="T7" fmla="*/ 143 h 168"/>
                <a:gd name="T8" fmla="*/ 0 w 180"/>
                <a:gd name="T9" fmla="*/ 78 h 168"/>
                <a:gd name="T10" fmla="*/ 90 w 180"/>
                <a:gd name="T11" fmla="*/ 0 h 168"/>
                <a:gd name="T12" fmla="*/ 180 w 180"/>
                <a:gd name="T13" fmla="*/ 78 h 168"/>
                <a:gd name="T14" fmla="*/ 157 w 180"/>
                <a:gd name="T15" fmla="*/ 128 h 168"/>
                <a:gd name="T16" fmla="*/ 173 w 180"/>
                <a:gd name="T17" fmla="*/ 159 h 168"/>
                <a:gd name="T18" fmla="*/ 172 w 180"/>
                <a:gd name="T19" fmla="*/ 166 h 168"/>
                <a:gd name="T20" fmla="*/ 168 w 180"/>
                <a:gd name="T21" fmla="*/ 168 h 168"/>
                <a:gd name="T22" fmla="*/ 120 w 180"/>
                <a:gd name="T23" fmla="*/ 138 h 168"/>
                <a:gd name="T24" fmla="*/ 122 w 180"/>
                <a:gd name="T25" fmla="*/ 138 h 168"/>
                <a:gd name="T26" fmla="*/ 155 w 180"/>
                <a:gd name="T27" fmla="*/ 151 h 168"/>
                <a:gd name="T28" fmla="*/ 144 w 180"/>
                <a:gd name="T29" fmla="*/ 129 h 168"/>
                <a:gd name="T30" fmla="*/ 146 w 180"/>
                <a:gd name="T31" fmla="*/ 121 h 168"/>
                <a:gd name="T32" fmla="*/ 168 w 180"/>
                <a:gd name="T33" fmla="*/ 78 h 168"/>
                <a:gd name="T34" fmla="*/ 90 w 180"/>
                <a:gd name="T35" fmla="*/ 12 h 168"/>
                <a:gd name="T36" fmla="*/ 12 w 180"/>
                <a:gd name="T37" fmla="*/ 78 h 168"/>
                <a:gd name="T38" fmla="*/ 43 w 180"/>
                <a:gd name="T39" fmla="*/ 133 h 168"/>
                <a:gd name="T40" fmla="*/ 117 w 180"/>
                <a:gd name="T41" fmla="*/ 139 h 168"/>
                <a:gd name="T42" fmla="*/ 120 w 180"/>
                <a:gd name="T43" fmla="*/ 13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68">
                  <a:moveTo>
                    <a:pt x="168" y="168"/>
                  </a:moveTo>
                  <a:cubicBezTo>
                    <a:pt x="167" y="168"/>
                    <a:pt x="166" y="168"/>
                    <a:pt x="166" y="168"/>
                  </a:cubicBezTo>
                  <a:cubicBezTo>
                    <a:pt x="120" y="151"/>
                    <a:pt x="120" y="151"/>
                    <a:pt x="120" y="151"/>
                  </a:cubicBezTo>
                  <a:cubicBezTo>
                    <a:pt x="92" y="162"/>
                    <a:pt x="62" y="159"/>
                    <a:pt x="37" y="143"/>
                  </a:cubicBezTo>
                  <a:cubicBezTo>
                    <a:pt x="13" y="128"/>
                    <a:pt x="0" y="104"/>
                    <a:pt x="0" y="78"/>
                  </a:cubicBezTo>
                  <a:cubicBezTo>
                    <a:pt x="0" y="36"/>
                    <a:pt x="41" y="0"/>
                    <a:pt x="90" y="0"/>
                  </a:cubicBezTo>
                  <a:cubicBezTo>
                    <a:pt x="138" y="0"/>
                    <a:pt x="180" y="36"/>
                    <a:pt x="180" y="78"/>
                  </a:cubicBezTo>
                  <a:cubicBezTo>
                    <a:pt x="180" y="97"/>
                    <a:pt x="172" y="114"/>
                    <a:pt x="157" y="128"/>
                  </a:cubicBezTo>
                  <a:cubicBezTo>
                    <a:pt x="173" y="159"/>
                    <a:pt x="173" y="159"/>
                    <a:pt x="173" y="159"/>
                  </a:cubicBezTo>
                  <a:cubicBezTo>
                    <a:pt x="174" y="162"/>
                    <a:pt x="174" y="164"/>
                    <a:pt x="172" y="166"/>
                  </a:cubicBezTo>
                  <a:cubicBezTo>
                    <a:pt x="171" y="167"/>
                    <a:pt x="169" y="168"/>
                    <a:pt x="168" y="168"/>
                  </a:cubicBezTo>
                  <a:close/>
                  <a:moveTo>
                    <a:pt x="120" y="138"/>
                  </a:moveTo>
                  <a:cubicBezTo>
                    <a:pt x="120" y="138"/>
                    <a:pt x="121" y="138"/>
                    <a:pt x="122" y="138"/>
                  </a:cubicBezTo>
                  <a:cubicBezTo>
                    <a:pt x="155" y="151"/>
                    <a:pt x="155" y="151"/>
                    <a:pt x="155" y="151"/>
                  </a:cubicBezTo>
                  <a:cubicBezTo>
                    <a:pt x="144" y="129"/>
                    <a:pt x="144" y="129"/>
                    <a:pt x="144" y="129"/>
                  </a:cubicBezTo>
                  <a:cubicBezTo>
                    <a:pt x="143" y="126"/>
                    <a:pt x="144" y="123"/>
                    <a:pt x="146" y="121"/>
                  </a:cubicBezTo>
                  <a:cubicBezTo>
                    <a:pt x="160" y="110"/>
                    <a:pt x="168" y="95"/>
                    <a:pt x="168" y="78"/>
                  </a:cubicBezTo>
                  <a:cubicBezTo>
                    <a:pt x="168" y="42"/>
                    <a:pt x="132" y="12"/>
                    <a:pt x="90" y="12"/>
                  </a:cubicBezTo>
                  <a:cubicBezTo>
                    <a:pt x="47" y="12"/>
                    <a:pt x="12" y="42"/>
                    <a:pt x="12" y="78"/>
                  </a:cubicBezTo>
                  <a:cubicBezTo>
                    <a:pt x="12" y="99"/>
                    <a:pt x="23" y="120"/>
                    <a:pt x="43" y="133"/>
                  </a:cubicBezTo>
                  <a:cubicBezTo>
                    <a:pt x="65" y="147"/>
                    <a:pt x="93" y="149"/>
                    <a:pt x="117" y="139"/>
                  </a:cubicBezTo>
                  <a:cubicBezTo>
                    <a:pt x="118" y="138"/>
                    <a:pt x="119" y="138"/>
                    <a:pt x="120"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18" name="Group 4">
            <a:extLst>
              <a:ext uri="{FF2B5EF4-FFF2-40B4-BE49-F238E27FC236}">
                <a16:creationId xmlns:a16="http://schemas.microsoft.com/office/drawing/2014/main" id="{6624F93D-A5D3-9049-9233-B5F6165978B5}"/>
              </a:ext>
            </a:extLst>
          </p:cNvPr>
          <p:cNvGrpSpPr>
            <a:grpSpLocks noChangeAspect="1"/>
          </p:cNvGrpSpPr>
          <p:nvPr userDrawn="1"/>
        </p:nvGrpSpPr>
        <p:grpSpPr bwMode="auto">
          <a:xfrm>
            <a:off x="5871933" y="3163253"/>
            <a:ext cx="495324" cy="388938"/>
            <a:chOff x="526" y="708"/>
            <a:chExt cx="433" cy="340"/>
          </a:xfrm>
          <a:solidFill>
            <a:schemeClr val="accent1"/>
          </a:solidFill>
        </p:grpSpPr>
        <p:sp>
          <p:nvSpPr>
            <p:cNvPr id="219" name="Freeform 5">
              <a:extLst>
                <a:ext uri="{FF2B5EF4-FFF2-40B4-BE49-F238E27FC236}">
                  <a16:creationId xmlns:a16="http://schemas.microsoft.com/office/drawing/2014/main" id="{2E8CDAC4-7731-2447-B17D-B9E13B8CEA82}"/>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
              <a:extLst>
                <a:ext uri="{FF2B5EF4-FFF2-40B4-BE49-F238E27FC236}">
                  <a16:creationId xmlns:a16="http://schemas.microsoft.com/office/drawing/2014/main" id="{A2C94C49-2544-FA47-B321-D1783FB63860}"/>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
              <a:extLst>
                <a:ext uri="{FF2B5EF4-FFF2-40B4-BE49-F238E27FC236}">
                  <a16:creationId xmlns:a16="http://schemas.microsoft.com/office/drawing/2014/main" id="{781D715F-F7E0-F543-B710-788014F086A9}"/>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8">
              <a:extLst>
                <a:ext uri="{FF2B5EF4-FFF2-40B4-BE49-F238E27FC236}">
                  <a16:creationId xmlns:a16="http://schemas.microsoft.com/office/drawing/2014/main" id="{0449EDE6-204A-E142-A345-649467F3CCF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
              <a:extLst>
                <a:ext uri="{FF2B5EF4-FFF2-40B4-BE49-F238E27FC236}">
                  <a16:creationId xmlns:a16="http://schemas.microsoft.com/office/drawing/2014/main" id="{E4CF1E8A-68D5-C344-B526-2ACB3B2BED2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
              <a:extLst>
                <a:ext uri="{FF2B5EF4-FFF2-40B4-BE49-F238E27FC236}">
                  <a16:creationId xmlns:a16="http://schemas.microsoft.com/office/drawing/2014/main" id="{58AF212D-5CEA-A842-96AF-38B282583057}"/>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a:extLst>
                <a:ext uri="{FF2B5EF4-FFF2-40B4-BE49-F238E27FC236}">
                  <a16:creationId xmlns:a16="http://schemas.microsoft.com/office/drawing/2014/main" id="{9067C848-4E37-864F-8284-E48FC9AB4158}"/>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
              <a:extLst>
                <a:ext uri="{FF2B5EF4-FFF2-40B4-BE49-F238E27FC236}">
                  <a16:creationId xmlns:a16="http://schemas.microsoft.com/office/drawing/2014/main" id="{9A7B4980-F4B3-A149-A900-28415FEB81F6}"/>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
              <a:extLst>
                <a:ext uri="{FF2B5EF4-FFF2-40B4-BE49-F238E27FC236}">
                  <a16:creationId xmlns:a16="http://schemas.microsoft.com/office/drawing/2014/main" id="{CD6B0A6B-597F-4E4C-A0FC-EFC38B204DD0}"/>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4" name="Group 127">
            <a:extLst>
              <a:ext uri="{FF2B5EF4-FFF2-40B4-BE49-F238E27FC236}">
                <a16:creationId xmlns:a16="http://schemas.microsoft.com/office/drawing/2014/main" id="{26DA099A-68DD-4F43-8FC7-141CAF6D1F91}"/>
              </a:ext>
            </a:extLst>
          </p:cNvPr>
          <p:cNvGrpSpPr>
            <a:grpSpLocks noChangeAspect="1"/>
          </p:cNvGrpSpPr>
          <p:nvPr userDrawn="1"/>
        </p:nvGrpSpPr>
        <p:grpSpPr bwMode="auto">
          <a:xfrm>
            <a:off x="7145733" y="3130536"/>
            <a:ext cx="464916" cy="454373"/>
            <a:chOff x="4656" y="1821"/>
            <a:chExt cx="441" cy="431"/>
          </a:xfrm>
          <a:solidFill>
            <a:schemeClr val="accent1"/>
          </a:solidFill>
        </p:grpSpPr>
        <p:sp>
          <p:nvSpPr>
            <p:cNvPr id="235" name="Freeform 128">
              <a:extLst>
                <a:ext uri="{FF2B5EF4-FFF2-40B4-BE49-F238E27FC236}">
                  <a16:creationId xmlns:a16="http://schemas.microsoft.com/office/drawing/2014/main" id="{78927280-4152-A345-AA5D-215134AE8360}"/>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6" name="Freeform 129">
              <a:extLst>
                <a:ext uri="{FF2B5EF4-FFF2-40B4-BE49-F238E27FC236}">
                  <a16:creationId xmlns:a16="http://schemas.microsoft.com/office/drawing/2014/main" id="{7096CC96-16F5-7E42-AA31-AC96F5CDDF98}"/>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7" name="Freeform 130">
              <a:extLst>
                <a:ext uri="{FF2B5EF4-FFF2-40B4-BE49-F238E27FC236}">
                  <a16:creationId xmlns:a16="http://schemas.microsoft.com/office/drawing/2014/main" id="{8C889260-9971-2F40-8AA7-F1A4FF7B8A74}"/>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8" name="Freeform 131">
              <a:extLst>
                <a:ext uri="{FF2B5EF4-FFF2-40B4-BE49-F238E27FC236}">
                  <a16:creationId xmlns:a16="http://schemas.microsoft.com/office/drawing/2014/main" id="{A5D47A1B-2141-4945-9F0E-589BB8088B6D}"/>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9" name="Freeform 132">
              <a:extLst>
                <a:ext uri="{FF2B5EF4-FFF2-40B4-BE49-F238E27FC236}">
                  <a16:creationId xmlns:a16="http://schemas.microsoft.com/office/drawing/2014/main" id="{C5C6BBAC-F34B-7C43-9879-1B7567B25FFB}"/>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0" name="Freeform 133">
              <a:extLst>
                <a:ext uri="{FF2B5EF4-FFF2-40B4-BE49-F238E27FC236}">
                  <a16:creationId xmlns:a16="http://schemas.microsoft.com/office/drawing/2014/main" id="{0E22282C-227B-014F-891F-C55AF7AEC82D}"/>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41" name="Group 21">
            <a:extLst>
              <a:ext uri="{FF2B5EF4-FFF2-40B4-BE49-F238E27FC236}">
                <a16:creationId xmlns:a16="http://schemas.microsoft.com/office/drawing/2014/main" id="{DF8633A8-0907-CE44-BEF9-83365247F289}"/>
              </a:ext>
            </a:extLst>
          </p:cNvPr>
          <p:cNvGrpSpPr>
            <a:grpSpLocks noChangeAspect="1"/>
          </p:cNvGrpSpPr>
          <p:nvPr userDrawn="1"/>
        </p:nvGrpSpPr>
        <p:grpSpPr bwMode="auto">
          <a:xfrm>
            <a:off x="8420433" y="3170602"/>
            <a:ext cx="473118" cy="374241"/>
            <a:chOff x="526" y="695"/>
            <a:chExt cx="445" cy="352"/>
          </a:xfrm>
          <a:solidFill>
            <a:schemeClr val="accent1"/>
          </a:solidFill>
        </p:grpSpPr>
        <p:sp>
          <p:nvSpPr>
            <p:cNvPr id="242" name="Freeform 241">
              <a:extLst>
                <a:ext uri="{FF2B5EF4-FFF2-40B4-BE49-F238E27FC236}">
                  <a16:creationId xmlns:a16="http://schemas.microsoft.com/office/drawing/2014/main" id="{0AA12124-D907-9A4D-80E8-82D0A9B109B0}"/>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2">
              <a:extLst>
                <a:ext uri="{FF2B5EF4-FFF2-40B4-BE49-F238E27FC236}">
                  <a16:creationId xmlns:a16="http://schemas.microsoft.com/office/drawing/2014/main" id="{F4562066-1535-0A41-9AF3-02D89DD896A2}"/>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43">
              <a:extLst>
                <a:ext uri="{FF2B5EF4-FFF2-40B4-BE49-F238E27FC236}">
                  <a16:creationId xmlns:a16="http://schemas.microsoft.com/office/drawing/2014/main" id="{B9353C7F-D73E-B741-B879-7A160E097286}"/>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44">
              <a:extLst>
                <a:ext uri="{FF2B5EF4-FFF2-40B4-BE49-F238E27FC236}">
                  <a16:creationId xmlns:a16="http://schemas.microsoft.com/office/drawing/2014/main" id="{6486A7B7-4FAD-3449-8DAB-F23DCD605F8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1">
            <a:extLst>
              <a:ext uri="{FF2B5EF4-FFF2-40B4-BE49-F238E27FC236}">
                <a16:creationId xmlns:a16="http://schemas.microsoft.com/office/drawing/2014/main" id="{812AA5DC-A4DD-534D-91AC-87DD09713D05}"/>
              </a:ext>
            </a:extLst>
          </p:cNvPr>
          <p:cNvGrpSpPr>
            <a:grpSpLocks noChangeAspect="1"/>
          </p:cNvGrpSpPr>
          <p:nvPr userDrawn="1"/>
        </p:nvGrpSpPr>
        <p:grpSpPr bwMode="auto">
          <a:xfrm>
            <a:off x="9667337" y="3111955"/>
            <a:ext cx="516168" cy="491534"/>
            <a:chOff x="6721" y="1874"/>
            <a:chExt cx="440" cy="419"/>
          </a:xfrm>
          <a:solidFill>
            <a:schemeClr val="accent1"/>
          </a:solidFill>
        </p:grpSpPr>
        <p:sp>
          <p:nvSpPr>
            <p:cNvPr id="247" name="Freeform 72">
              <a:extLst>
                <a:ext uri="{FF2B5EF4-FFF2-40B4-BE49-F238E27FC236}">
                  <a16:creationId xmlns:a16="http://schemas.microsoft.com/office/drawing/2014/main" id="{1D7E026E-1643-2347-9166-545F7A08B43D}"/>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Freeform 73">
              <a:extLst>
                <a:ext uri="{FF2B5EF4-FFF2-40B4-BE49-F238E27FC236}">
                  <a16:creationId xmlns:a16="http://schemas.microsoft.com/office/drawing/2014/main" id="{5351C73B-0BA7-0241-A5BE-40597F228322}"/>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Freeform 74">
              <a:extLst>
                <a:ext uri="{FF2B5EF4-FFF2-40B4-BE49-F238E27FC236}">
                  <a16:creationId xmlns:a16="http://schemas.microsoft.com/office/drawing/2014/main" id="{D0E469F3-B678-D945-AFB3-6BFFD229CAFC}"/>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Freeform 75">
              <a:extLst>
                <a:ext uri="{FF2B5EF4-FFF2-40B4-BE49-F238E27FC236}">
                  <a16:creationId xmlns:a16="http://schemas.microsoft.com/office/drawing/2014/main" id="{B77FEEF7-7A7C-6643-BD56-5BEB58280FD6}"/>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Freeform 76">
              <a:extLst>
                <a:ext uri="{FF2B5EF4-FFF2-40B4-BE49-F238E27FC236}">
                  <a16:creationId xmlns:a16="http://schemas.microsoft.com/office/drawing/2014/main" id="{3B035025-AC90-7E49-BF74-FB46A87DC5B1}"/>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Freeform 77">
              <a:extLst>
                <a:ext uri="{FF2B5EF4-FFF2-40B4-BE49-F238E27FC236}">
                  <a16:creationId xmlns:a16="http://schemas.microsoft.com/office/drawing/2014/main" id="{4B9EEDFD-B5F6-5942-AA55-8425057F8DD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Freeform 78">
              <a:extLst>
                <a:ext uri="{FF2B5EF4-FFF2-40B4-BE49-F238E27FC236}">
                  <a16:creationId xmlns:a16="http://schemas.microsoft.com/office/drawing/2014/main" id="{8B50B4AE-2180-ED47-B4DC-A8F6FCB2FDBB}"/>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4" name="Freeform 79">
              <a:extLst>
                <a:ext uri="{FF2B5EF4-FFF2-40B4-BE49-F238E27FC236}">
                  <a16:creationId xmlns:a16="http://schemas.microsoft.com/office/drawing/2014/main" id="{3D3213DB-D615-0D43-8639-180B31371C41}"/>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55" name="Group 83">
            <a:extLst>
              <a:ext uri="{FF2B5EF4-FFF2-40B4-BE49-F238E27FC236}">
                <a16:creationId xmlns:a16="http://schemas.microsoft.com/office/drawing/2014/main" id="{55833B4A-F17D-B241-A9BA-CAA65D15AF3C}"/>
              </a:ext>
            </a:extLst>
          </p:cNvPr>
          <p:cNvGrpSpPr>
            <a:grpSpLocks noChangeAspect="1"/>
          </p:cNvGrpSpPr>
          <p:nvPr userDrawn="1"/>
        </p:nvGrpSpPr>
        <p:grpSpPr bwMode="auto">
          <a:xfrm>
            <a:off x="5862737" y="4307059"/>
            <a:ext cx="513716" cy="502040"/>
            <a:chOff x="2584" y="1926"/>
            <a:chExt cx="440" cy="430"/>
          </a:xfrm>
          <a:solidFill>
            <a:schemeClr val="accent1"/>
          </a:solidFill>
        </p:grpSpPr>
        <p:sp>
          <p:nvSpPr>
            <p:cNvPr id="256" name="Freeform 84">
              <a:extLst>
                <a:ext uri="{FF2B5EF4-FFF2-40B4-BE49-F238E27FC236}">
                  <a16:creationId xmlns:a16="http://schemas.microsoft.com/office/drawing/2014/main" id="{62D09E4A-E7E8-5A4A-85DE-1B4599C0D0C4}"/>
                </a:ext>
              </a:extLst>
            </p:cNvPr>
            <p:cNvSpPr>
              <a:spLocks noEditPoints="1"/>
            </p:cNvSpPr>
            <p:nvPr/>
          </p:nvSpPr>
          <p:spPr bwMode="auto">
            <a:xfrm>
              <a:off x="2749" y="2033"/>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4" y="108"/>
                    <a:pt x="0" y="84"/>
                    <a:pt x="0" y="54"/>
                  </a:cubicBezTo>
                  <a:cubicBezTo>
                    <a:pt x="0" y="24"/>
                    <a:pt x="24"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7" y="96"/>
                    <a:pt x="96" y="77"/>
                    <a:pt x="96" y="54"/>
                  </a:cubicBezTo>
                  <a:cubicBezTo>
                    <a:pt x="96" y="31"/>
                    <a:pt x="7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7" name="Freeform 85">
              <a:extLst>
                <a:ext uri="{FF2B5EF4-FFF2-40B4-BE49-F238E27FC236}">
                  <a16:creationId xmlns:a16="http://schemas.microsoft.com/office/drawing/2014/main" id="{B59559F8-B7D8-E64A-9FF8-99BE86B67197}"/>
                </a:ext>
              </a:extLst>
            </p:cNvPr>
            <p:cNvSpPr>
              <a:spLocks noEditPoints="1"/>
            </p:cNvSpPr>
            <p:nvPr/>
          </p:nvSpPr>
          <p:spPr bwMode="auto">
            <a:xfrm>
              <a:off x="2584" y="1989"/>
              <a:ext cx="73"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8" name="Freeform 86">
              <a:extLst>
                <a:ext uri="{FF2B5EF4-FFF2-40B4-BE49-F238E27FC236}">
                  <a16:creationId xmlns:a16="http://schemas.microsoft.com/office/drawing/2014/main" id="{CB47EC8D-F2B8-9F4C-B06A-5E3E2F46DBEF}"/>
                </a:ext>
              </a:extLst>
            </p:cNvPr>
            <p:cNvSpPr>
              <a:spLocks noEditPoints="1"/>
            </p:cNvSpPr>
            <p:nvPr/>
          </p:nvSpPr>
          <p:spPr bwMode="auto">
            <a:xfrm>
              <a:off x="2951" y="1926"/>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9" name="Freeform 87">
              <a:extLst>
                <a:ext uri="{FF2B5EF4-FFF2-40B4-BE49-F238E27FC236}">
                  <a16:creationId xmlns:a16="http://schemas.microsoft.com/office/drawing/2014/main" id="{DFF5E73F-F4A1-184B-8EF1-E99450FD4003}"/>
                </a:ext>
              </a:extLst>
            </p:cNvPr>
            <p:cNvSpPr>
              <a:spLocks noEditPoints="1"/>
            </p:cNvSpPr>
            <p:nvPr/>
          </p:nvSpPr>
          <p:spPr bwMode="auto">
            <a:xfrm>
              <a:off x="2584"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0" name="Freeform 88">
              <a:extLst>
                <a:ext uri="{FF2B5EF4-FFF2-40B4-BE49-F238E27FC236}">
                  <a16:creationId xmlns:a16="http://schemas.microsoft.com/office/drawing/2014/main" id="{4315EC7A-FDF7-B047-92A8-C59FD41F2ACE}"/>
                </a:ext>
              </a:extLst>
            </p:cNvPr>
            <p:cNvSpPr>
              <a:spLocks noEditPoints="1"/>
            </p:cNvSpPr>
            <p:nvPr/>
          </p:nvSpPr>
          <p:spPr bwMode="auto">
            <a:xfrm>
              <a:off x="2795" y="2284"/>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1" name="Freeform 89">
              <a:extLst>
                <a:ext uri="{FF2B5EF4-FFF2-40B4-BE49-F238E27FC236}">
                  <a16:creationId xmlns:a16="http://schemas.microsoft.com/office/drawing/2014/main" id="{5CFD3D7D-9ADA-AA40-8FB5-1D7E3F968532}"/>
                </a:ext>
              </a:extLst>
            </p:cNvPr>
            <p:cNvSpPr>
              <a:spLocks/>
            </p:cNvSpPr>
            <p:nvPr/>
          </p:nvSpPr>
          <p:spPr bwMode="auto">
            <a:xfrm>
              <a:off x="2634" y="2159"/>
              <a:ext cx="152" cy="149"/>
            </a:xfrm>
            <a:custGeom>
              <a:avLst/>
              <a:gdLst>
                <a:gd name="T0" fmla="*/ 12 w 152"/>
                <a:gd name="T1" fmla="*/ 149 h 149"/>
                <a:gd name="T2" fmla="*/ 0 w 152"/>
                <a:gd name="T3" fmla="*/ 136 h 149"/>
                <a:gd name="T4" fmla="*/ 139 w 152"/>
                <a:gd name="T5" fmla="*/ 0 h 149"/>
                <a:gd name="T6" fmla="*/ 152 w 152"/>
                <a:gd name="T7" fmla="*/ 13 h 149"/>
                <a:gd name="T8" fmla="*/ 12 w 152"/>
                <a:gd name="T9" fmla="*/ 149 h 149"/>
              </a:gdLst>
              <a:ahLst/>
              <a:cxnLst>
                <a:cxn ang="0">
                  <a:pos x="T0" y="T1"/>
                </a:cxn>
                <a:cxn ang="0">
                  <a:pos x="T2" y="T3"/>
                </a:cxn>
                <a:cxn ang="0">
                  <a:pos x="T4" y="T5"/>
                </a:cxn>
                <a:cxn ang="0">
                  <a:pos x="T6" y="T7"/>
                </a:cxn>
                <a:cxn ang="0">
                  <a:pos x="T8" y="T9"/>
                </a:cxn>
              </a:cxnLst>
              <a:rect l="0" t="0" r="r" b="b"/>
              <a:pathLst>
                <a:path w="152" h="149">
                  <a:moveTo>
                    <a:pt x="12" y="149"/>
                  </a:moveTo>
                  <a:lnTo>
                    <a:pt x="0" y="136"/>
                  </a:lnTo>
                  <a:lnTo>
                    <a:pt x="139" y="0"/>
                  </a:lnTo>
                  <a:lnTo>
                    <a:pt x="152" y="13"/>
                  </a:lnTo>
                  <a:lnTo>
                    <a:pt x="12"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2" name="Freeform 90">
              <a:extLst>
                <a:ext uri="{FF2B5EF4-FFF2-40B4-BE49-F238E27FC236}">
                  <a16:creationId xmlns:a16="http://schemas.microsoft.com/office/drawing/2014/main" id="{BC3144C7-6411-9D4D-B367-CCFF229DB9B8}"/>
                </a:ext>
              </a:extLst>
            </p:cNvPr>
            <p:cNvSpPr>
              <a:spLocks/>
            </p:cNvSpPr>
            <p:nvPr/>
          </p:nvSpPr>
          <p:spPr bwMode="auto">
            <a:xfrm>
              <a:off x="2877" y="1975"/>
              <a:ext cx="98" cy="96"/>
            </a:xfrm>
            <a:custGeom>
              <a:avLst/>
              <a:gdLst>
                <a:gd name="T0" fmla="*/ 13 w 98"/>
                <a:gd name="T1" fmla="*/ 96 h 96"/>
                <a:gd name="T2" fmla="*/ 0 w 98"/>
                <a:gd name="T3" fmla="*/ 82 h 96"/>
                <a:gd name="T4" fmla="*/ 84 w 98"/>
                <a:gd name="T5" fmla="*/ 0 h 96"/>
                <a:gd name="T6" fmla="*/ 98 w 98"/>
                <a:gd name="T7" fmla="*/ 12 h 96"/>
                <a:gd name="T8" fmla="*/ 13 w 98"/>
                <a:gd name="T9" fmla="*/ 96 h 96"/>
              </a:gdLst>
              <a:ahLst/>
              <a:cxnLst>
                <a:cxn ang="0">
                  <a:pos x="T0" y="T1"/>
                </a:cxn>
                <a:cxn ang="0">
                  <a:pos x="T2" y="T3"/>
                </a:cxn>
                <a:cxn ang="0">
                  <a:pos x="T4" y="T5"/>
                </a:cxn>
                <a:cxn ang="0">
                  <a:pos x="T6" y="T7"/>
                </a:cxn>
                <a:cxn ang="0">
                  <a:pos x="T8" y="T9"/>
                </a:cxn>
              </a:cxnLst>
              <a:rect l="0" t="0" r="r" b="b"/>
              <a:pathLst>
                <a:path w="98" h="96">
                  <a:moveTo>
                    <a:pt x="13" y="96"/>
                  </a:moveTo>
                  <a:lnTo>
                    <a:pt x="0" y="82"/>
                  </a:lnTo>
                  <a:lnTo>
                    <a:pt x="84" y="0"/>
                  </a:lnTo>
                  <a:lnTo>
                    <a:pt x="98" y="12"/>
                  </a:lnTo>
                  <a:lnTo>
                    <a:pt x="13"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3" name="Freeform 91">
              <a:extLst>
                <a:ext uri="{FF2B5EF4-FFF2-40B4-BE49-F238E27FC236}">
                  <a16:creationId xmlns:a16="http://schemas.microsoft.com/office/drawing/2014/main" id="{6E2C42D8-3319-674B-8133-E01915A2D52A}"/>
                </a:ext>
              </a:extLst>
            </p:cNvPr>
            <p:cNvSpPr>
              <a:spLocks/>
            </p:cNvSpPr>
            <p:nvPr/>
          </p:nvSpPr>
          <p:spPr bwMode="auto">
            <a:xfrm>
              <a:off x="2642" y="2029"/>
              <a:ext cx="125" cy="66"/>
            </a:xfrm>
            <a:custGeom>
              <a:avLst/>
              <a:gdLst>
                <a:gd name="T0" fmla="*/ 119 w 125"/>
                <a:gd name="T1" fmla="*/ 66 h 66"/>
                <a:gd name="T2" fmla="*/ 0 w 125"/>
                <a:gd name="T3" fmla="*/ 16 h 66"/>
                <a:gd name="T4" fmla="*/ 7 w 125"/>
                <a:gd name="T5" fmla="*/ 0 h 66"/>
                <a:gd name="T6" fmla="*/ 125 w 125"/>
                <a:gd name="T7" fmla="*/ 49 h 66"/>
                <a:gd name="T8" fmla="*/ 119 w 125"/>
                <a:gd name="T9" fmla="*/ 66 h 66"/>
              </a:gdLst>
              <a:ahLst/>
              <a:cxnLst>
                <a:cxn ang="0">
                  <a:pos x="T0" y="T1"/>
                </a:cxn>
                <a:cxn ang="0">
                  <a:pos x="T2" y="T3"/>
                </a:cxn>
                <a:cxn ang="0">
                  <a:pos x="T4" y="T5"/>
                </a:cxn>
                <a:cxn ang="0">
                  <a:pos x="T6" y="T7"/>
                </a:cxn>
                <a:cxn ang="0">
                  <a:pos x="T8" y="T9"/>
                </a:cxn>
              </a:cxnLst>
              <a:rect l="0" t="0" r="r" b="b"/>
              <a:pathLst>
                <a:path w="125" h="66">
                  <a:moveTo>
                    <a:pt x="119" y="66"/>
                  </a:moveTo>
                  <a:lnTo>
                    <a:pt x="0" y="16"/>
                  </a:lnTo>
                  <a:lnTo>
                    <a:pt x="7" y="0"/>
                  </a:lnTo>
                  <a:lnTo>
                    <a:pt x="125" y="49"/>
                  </a:lnTo>
                  <a:lnTo>
                    <a:pt x="1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4" name="Freeform 92">
              <a:extLst>
                <a:ext uri="{FF2B5EF4-FFF2-40B4-BE49-F238E27FC236}">
                  <a16:creationId xmlns:a16="http://schemas.microsoft.com/office/drawing/2014/main" id="{8081C512-E672-CD44-BBE3-358BA6E0D14A}"/>
                </a:ext>
              </a:extLst>
            </p:cNvPr>
            <p:cNvSpPr>
              <a:spLocks/>
            </p:cNvSpPr>
            <p:nvPr/>
          </p:nvSpPr>
          <p:spPr bwMode="auto">
            <a:xfrm>
              <a:off x="2891" y="2142"/>
              <a:ext cx="74" cy="44"/>
            </a:xfrm>
            <a:custGeom>
              <a:avLst/>
              <a:gdLst>
                <a:gd name="T0" fmla="*/ 66 w 74"/>
                <a:gd name="T1" fmla="*/ 44 h 44"/>
                <a:gd name="T2" fmla="*/ 0 w 74"/>
                <a:gd name="T3" fmla="*/ 17 h 44"/>
                <a:gd name="T4" fmla="*/ 8 w 74"/>
                <a:gd name="T5" fmla="*/ 0 h 44"/>
                <a:gd name="T6" fmla="*/ 74 w 74"/>
                <a:gd name="T7" fmla="*/ 27 h 44"/>
                <a:gd name="T8" fmla="*/ 66 w 74"/>
                <a:gd name="T9" fmla="*/ 44 h 44"/>
              </a:gdLst>
              <a:ahLst/>
              <a:cxnLst>
                <a:cxn ang="0">
                  <a:pos x="T0" y="T1"/>
                </a:cxn>
                <a:cxn ang="0">
                  <a:pos x="T2" y="T3"/>
                </a:cxn>
                <a:cxn ang="0">
                  <a:pos x="T4" y="T5"/>
                </a:cxn>
                <a:cxn ang="0">
                  <a:pos x="T6" y="T7"/>
                </a:cxn>
                <a:cxn ang="0">
                  <a:pos x="T8" y="T9"/>
                </a:cxn>
              </a:cxnLst>
              <a:rect l="0" t="0" r="r" b="b"/>
              <a:pathLst>
                <a:path w="74" h="44">
                  <a:moveTo>
                    <a:pt x="66" y="44"/>
                  </a:moveTo>
                  <a:lnTo>
                    <a:pt x="0" y="17"/>
                  </a:lnTo>
                  <a:lnTo>
                    <a:pt x="8" y="0"/>
                  </a:lnTo>
                  <a:lnTo>
                    <a:pt x="74" y="27"/>
                  </a:lnTo>
                  <a:lnTo>
                    <a:pt x="6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5" name="Rectangle 93">
              <a:extLst>
                <a:ext uri="{FF2B5EF4-FFF2-40B4-BE49-F238E27FC236}">
                  <a16:creationId xmlns:a16="http://schemas.microsoft.com/office/drawing/2014/main" id="{55AC4F32-9438-A14E-8D3B-30633B19540D}"/>
                </a:ext>
              </a:extLst>
            </p:cNvPr>
            <p:cNvSpPr>
              <a:spLocks noChangeArrowheads="1"/>
            </p:cNvSpPr>
            <p:nvPr/>
          </p:nvSpPr>
          <p:spPr bwMode="auto">
            <a:xfrm>
              <a:off x="2822" y="2186"/>
              <a:ext cx="19" cy="10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6" name="Freeform 94">
              <a:extLst>
                <a:ext uri="{FF2B5EF4-FFF2-40B4-BE49-F238E27FC236}">
                  <a16:creationId xmlns:a16="http://schemas.microsoft.com/office/drawing/2014/main" id="{B353D0A6-EF38-0447-A7B3-679682F67888}"/>
                </a:ext>
              </a:extLst>
            </p:cNvPr>
            <p:cNvSpPr>
              <a:spLocks noEditPoints="1"/>
            </p:cNvSpPr>
            <p:nvPr/>
          </p:nvSpPr>
          <p:spPr bwMode="auto">
            <a:xfrm>
              <a:off x="2951" y="2150"/>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7" y="12"/>
                    <a:pt x="12" y="18"/>
                    <a:pt x="12" y="24"/>
                  </a:cubicBezTo>
                  <a:cubicBezTo>
                    <a:pt x="12" y="31"/>
                    <a:pt x="17" y="36"/>
                    <a:pt x="24" y="36"/>
                  </a:cubicBezTo>
                  <a:cubicBezTo>
                    <a:pt x="31" y="36"/>
                    <a:pt x="36" y="31"/>
                    <a:pt x="36" y="24"/>
                  </a:cubicBezTo>
                  <a:cubicBezTo>
                    <a:pt x="36" y="18"/>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67" name="Group 59">
            <a:extLst>
              <a:ext uri="{FF2B5EF4-FFF2-40B4-BE49-F238E27FC236}">
                <a16:creationId xmlns:a16="http://schemas.microsoft.com/office/drawing/2014/main" id="{EF54C6A6-4BD1-DD43-B133-D4D226C9EE9F}"/>
              </a:ext>
            </a:extLst>
          </p:cNvPr>
          <p:cNvGrpSpPr>
            <a:grpSpLocks noChangeAspect="1"/>
          </p:cNvGrpSpPr>
          <p:nvPr userDrawn="1"/>
        </p:nvGrpSpPr>
        <p:grpSpPr bwMode="auto">
          <a:xfrm>
            <a:off x="7131257" y="4307059"/>
            <a:ext cx="493868" cy="502040"/>
            <a:chOff x="5696" y="644"/>
            <a:chExt cx="423" cy="430"/>
          </a:xfrm>
          <a:solidFill>
            <a:schemeClr val="accent1"/>
          </a:solidFill>
        </p:grpSpPr>
        <p:sp>
          <p:nvSpPr>
            <p:cNvPr id="268" name="Freeform 60">
              <a:extLst>
                <a:ext uri="{FF2B5EF4-FFF2-40B4-BE49-F238E27FC236}">
                  <a16:creationId xmlns:a16="http://schemas.microsoft.com/office/drawing/2014/main" id="{2DF46A1E-62FB-7842-A1DF-1D64EE7FCC0F}"/>
                </a:ext>
              </a:extLst>
            </p:cNvPr>
            <p:cNvSpPr>
              <a:spLocks noEditPoints="1"/>
            </p:cNvSpPr>
            <p:nvPr/>
          </p:nvSpPr>
          <p:spPr bwMode="auto">
            <a:xfrm>
              <a:off x="5852" y="644"/>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61">
              <a:extLst>
                <a:ext uri="{FF2B5EF4-FFF2-40B4-BE49-F238E27FC236}">
                  <a16:creationId xmlns:a16="http://schemas.microsoft.com/office/drawing/2014/main" id="{BCA1753F-E6EB-1940-8BE6-7A70C8DF218E}"/>
                </a:ext>
              </a:extLst>
            </p:cNvPr>
            <p:cNvSpPr>
              <a:spLocks noEditPoints="1"/>
            </p:cNvSpPr>
            <p:nvPr/>
          </p:nvSpPr>
          <p:spPr bwMode="auto">
            <a:xfrm>
              <a:off x="5852"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62">
              <a:extLst>
                <a:ext uri="{FF2B5EF4-FFF2-40B4-BE49-F238E27FC236}">
                  <a16:creationId xmlns:a16="http://schemas.microsoft.com/office/drawing/2014/main" id="{FF51CD50-D176-8646-A186-FB4270CF1C91}"/>
                </a:ext>
              </a:extLst>
            </p:cNvPr>
            <p:cNvSpPr>
              <a:spLocks noEditPoints="1"/>
            </p:cNvSpPr>
            <p:nvPr/>
          </p:nvSpPr>
          <p:spPr bwMode="auto">
            <a:xfrm>
              <a:off x="6008"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63">
              <a:extLst>
                <a:ext uri="{FF2B5EF4-FFF2-40B4-BE49-F238E27FC236}">
                  <a16:creationId xmlns:a16="http://schemas.microsoft.com/office/drawing/2014/main" id="{1DC2FFD3-7641-234A-B73A-9039B77A4C14}"/>
                </a:ext>
              </a:extLst>
            </p:cNvPr>
            <p:cNvSpPr>
              <a:spLocks noEditPoints="1"/>
            </p:cNvSpPr>
            <p:nvPr/>
          </p:nvSpPr>
          <p:spPr bwMode="auto">
            <a:xfrm>
              <a:off x="5696" y="967"/>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Rectangle 64">
              <a:extLst>
                <a:ext uri="{FF2B5EF4-FFF2-40B4-BE49-F238E27FC236}">
                  <a16:creationId xmlns:a16="http://schemas.microsoft.com/office/drawing/2014/main" id="{3900C2DB-FA6B-D741-97DE-59BAC7FFBDBD}"/>
                </a:ext>
              </a:extLst>
            </p:cNvPr>
            <p:cNvSpPr>
              <a:spLocks noChangeArrowheads="1"/>
            </p:cNvSpPr>
            <p:nvPr/>
          </p:nvSpPr>
          <p:spPr bwMode="auto">
            <a:xfrm>
              <a:off x="5898" y="743"/>
              <a:ext cx="19" cy="2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65">
              <a:extLst>
                <a:ext uri="{FF2B5EF4-FFF2-40B4-BE49-F238E27FC236}">
                  <a16:creationId xmlns:a16="http://schemas.microsoft.com/office/drawing/2014/main" id="{3C85F200-5885-C74D-8D1C-4D9CD9852A78}"/>
                </a:ext>
              </a:extLst>
            </p:cNvPr>
            <p:cNvSpPr>
              <a:spLocks/>
            </p:cNvSpPr>
            <p:nvPr/>
          </p:nvSpPr>
          <p:spPr bwMode="auto">
            <a:xfrm>
              <a:off x="5742" y="859"/>
              <a:ext cx="331" cy="116"/>
            </a:xfrm>
            <a:custGeom>
              <a:avLst/>
              <a:gdLst>
                <a:gd name="T0" fmla="*/ 216 w 216"/>
                <a:gd name="T1" fmla="*/ 78 h 78"/>
                <a:gd name="T2" fmla="*/ 204 w 216"/>
                <a:gd name="T3" fmla="*/ 78 h 78"/>
                <a:gd name="T4" fmla="*/ 138 w 216"/>
                <a:gd name="T5" fmla="*/ 12 h 78"/>
                <a:gd name="T6" fmla="*/ 72 w 216"/>
                <a:gd name="T7" fmla="*/ 12 h 78"/>
                <a:gd name="T8" fmla="*/ 12 w 216"/>
                <a:gd name="T9" fmla="*/ 78 h 78"/>
                <a:gd name="T10" fmla="*/ 0 w 216"/>
                <a:gd name="T11" fmla="*/ 78 h 78"/>
                <a:gd name="T12" fmla="*/ 72 w 216"/>
                <a:gd name="T13" fmla="*/ 0 h 78"/>
                <a:gd name="T14" fmla="*/ 138 w 216"/>
                <a:gd name="T15" fmla="*/ 0 h 78"/>
                <a:gd name="T16" fmla="*/ 216 w 21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78">
                  <a:moveTo>
                    <a:pt x="216" y="78"/>
                  </a:moveTo>
                  <a:cubicBezTo>
                    <a:pt x="204" y="78"/>
                    <a:pt x="204" y="78"/>
                    <a:pt x="204" y="78"/>
                  </a:cubicBezTo>
                  <a:cubicBezTo>
                    <a:pt x="204" y="42"/>
                    <a:pt x="175" y="12"/>
                    <a:pt x="138" y="12"/>
                  </a:cubicBezTo>
                  <a:cubicBezTo>
                    <a:pt x="72" y="12"/>
                    <a:pt x="72" y="12"/>
                    <a:pt x="72" y="12"/>
                  </a:cubicBezTo>
                  <a:cubicBezTo>
                    <a:pt x="37" y="12"/>
                    <a:pt x="12" y="40"/>
                    <a:pt x="12" y="78"/>
                  </a:cubicBezTo>
                  <a:cubicBezTo>
                    <a:pt x="0" y="78"/>
                    <a:pt x="0" y="78"/>
                    <a:pt x="0" y="78"/>
                  </a:cubicBezTo>
                  <a:cubicBezTo>
                    <a:pt x="0" y="33"/>
                    <a:pt x="31" y="0"/>
                    <a:pt x="72" y="0"/>
                  </a:cubicBezTo>
                  <a:cubicBezTo>
                    <a:pt x="138" y="0"/>
                    <a:pt x="138" y="0"/>
                    <a:pt x="138" y="0"/>
                  </a:cubicBezTo>
                  <a:cubicBezTo>
                    <a:pt x="181" y="0"/>
                    <a:pt x="216" y="35"/>
                    <a:pt x="216"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40">
            <a:extLst>
              <a:ext uri="{FF2B5EF4-FFF2-40B4-BE49-F238E27FC236}">
                <a16:creationId xmlns:a16="http://schemas.microsoft.com/office/drawing/2014/main" id="{AF2CB69D-CBB7-0741-B4F3-6F052ABCDA2C}"/>
              </a:ext>
            </a:extLst>
          </p:cNvPr>
          <p:cNvGrpSpPr>
            <a:grpSpLocks noChangeAspect="1"/>
          </p:cNvGrpSpPr>
          <p:nvPr userDrawn="1"/>
        </p:nvGrpSpPr>
        <p:grpSpPr bwMode="auto">
          <a:xfrm>
            <a:off x="8413589" y="4350552"/>
            <a:ext cx="486806" cy="415054"/>
            <a:chOff x="4653" y="690"/>
            <a:chExt cx="441" cy="376"/>
          </a:xfrm>
          <a:solidFill>
            <a:schemeClr val="accent1"/>
          </a:solidFill>
        </p:grpSpPr>
        <p:sp>
          <p:nvSpPr>
            <p:cNvPr id="275" name="Freeform 41">
              <a:extLst>
                <a:ext uri="{FF2B5EF4-FFF2-40B4-BE49-F238E27FC236}">
                  <a16:creationId xmlns:a16="http://schemas.microsoft.com/office/drawing/2014/main" id="{FDCBE251-79E8-114A-B376-CEEF3221D205}"/>
                </a:ext>
              </a:extLst>
            </p:cNvPr>
            <p:cNvSpPr>
              <a:spLocks noEditPoints="1"/>
            </p:cNvSpPr>
            <p:nvPr/>
          </p:nvSpPr>
          <p:spPr bwMode="auto">
            <a:xfrm>
              <a:off x="4653"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6" name="Freeform 42">
              <a:extLst>
                <a:ext uri="{FF2B5EF4-FFF2-40B4-BE49-F238E27FC236}">
                  <a16:creationId xmlns:a16="http://schemas.microsoft.com/office/drawing/2014/main" id="{33EAB03F-1708-934A-9326-DCEC1E3BE1BF}"/>
                </a:ext>
              </a:extLst>
            </p:cNvPr>
            <p:cNvSpPr>
              <a:spLocks noEditPoints="1"/>
            </p:cNvSpPr>
            <p:nvPr/>
          </p:nvSpPr>
          <p:spPr bwMode="auto">
            <a:xfrm>
              <a:off x="4984" y="815"/>
              <a:ext cx="110" cy="180"/>
            </a:xfrm>
            <a:custGeom>
              <a:avLst/>
              <a:gdLst>
                <a:gd name="T0" fmla="*/ 54 w 72"/>
                <a:gd name="T1" fmla="*/ 120 h 120"/>
                <a:gd name="T2" fmla="*/ 18 w 72"/>
                <a:gd name="T3" fmla="*/ 120 h 120"/>
                <a:gd name="T4" fmla="*/ 12 w 72"/>
                <a:gd name="T5" fmla="*/ 114 h 120"/>
                <a:gd name="T6" fmla="*/ 12 w 72"/>
                <a:gd name="T7" fmla="*/ 65 h 120"/>
                <a:gd name="T8" fmla="*/ 0 w 72"/>
                <a:gd name="T9" fmla="*/ 42 h 120"/>
                <a:gd name="T10" fmla="*/ 0 w 72"/>
                <a:gd name="T11" fmla="*/ 6 h 120"/>
                <a:gd name="T12" fmla="*/ 6 w 72"/>
                <a:gd name="T13" fmla="*/ 0 h 120"/>
                <a:gd name="T14" fmla="*/ 66 w 72"/>
                <a:gd name="T15" fmla="*/ 0 h 120"/>
                <a:gd name="T16" fmla="*/ 72 w 72"/>
                <a:gd name="T17" fmla="*/ 6 h 120"/>
                <a:gd name="T18" fmla="*/ 72 w 72"/>
                <a:gd name="T19" fmla="*/ 42 h 120"/>
                <a:gd name="T20" fmla="*/ 60 w 72"/>
                <a:gd name="T21" fmla="*/ 65 h 120"/>
                <a:gd name="T22" fmla="*/ 60 w 72"/>
                <a:gd name="T23" fmla="*/ 114 h 120"/>
                <a:gd name="T24" fmla="*/ 54 w 72"/>
                <a:gd name="T25" fmla="*/ 120 h 120"/>
                <a:gd name="T26" fmla="*/ 24 w 72"/>
                <a:gd name="T27" fmla="*/ 108 h 120"/>
                <a:gd name="T28" fmla="*/ 48 w 72"/>
                <a:gd name="T29" fmla="*/ 108 h 120"/>
                <a:gd name="T30" fmla="*/ 48 w 72"/>
                <a:gd name="T31" fmla="*/ 60 h 120"/>
                <a:gd name="T32" fmla="*/ 54 w 72"/>
                <a:gd name="T33" fmla="*/ 54 h 120"/>
                <a:gd name="T34" fmla="*/ 60 w 72"/>
                <a:gd name="T35" fmla="*/ 42 h 120"/>
                <a:gd name="T36" fmla="*/ 60 w 72"/>
                <a:gd name="T37" fmla="*/ 12 h 120"/>
                <a:gd name="T38" fmla="*/ 12 w 72"/>
                <a:gd name="T39" fmla="*/ 12 h 120"/>
                <a:gd name="T40" fmla="*/ 12 w 72"/>
                <a:gd name="T41" fmla="*/ 42 h 120"/>
                <a:gd name="T42" fmla="*/ 18 w 72"/>
                <a:gd name="T43" fmla="*/ 54 h 120"/>
                <a:gd name="T44" fmla="*/ 24 w 72"/>
                <a:gd name="T45" fmla="*/ 60 h 120"/>
                <a:gd name="T46" fmla="*/ 24 w 72"/>
                <a:gd name="T47"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54" y="120"/>
                  </a:moveTo>
                  <a:cubicBezTo>
                    <a:pt x="18" y="120"/>
                    <a:pt x="18" y="120"/>
                    <a:pt x="18" y="120"/>
                  </a:cubicBezTo>
                  <a:cubicBezTo>
                    <a:pt x="15" y="120"/>
                    <a:pt x="12" y="117"/>
                    <a:pt x="12" y="114"/>
                  </a:cubicBezTo>
                  <a:cubicBezTo>
                    <a:pt x="12" y="65"/>
                    <a:pt x="12" y="65"/>
                    <a:pt x="12" y="65"/>
                  </a:cubicBezTo>
                  <a:cubicBezTo>
                    <a:pt x="4" y="62"/>
                    <a:pt x="0" y="55"/>
                    <a:pt x="0" y="42"/>
                  </a:cubicBezTo>
                  <a:cubicBezTo>
                    <a:pt x="0" y="6"/>
                    <a:pt x="0" y="6"/>
                    <a:pt x="0" y="6"/>
                  </a:cubicBezTo>
                  <a:cubicBezTo>
                    <a:pt x="0" y="2"/>
                    <a:pt x="3" y="0"/>
                    <a:pt x="6" y="0"/>
                  </a:cubicBezTo>
                  <a:cubicBezTo>
                    <a:pt x="66" y="0"/>
                    <a:pt x="66" y="0"/>
                    <a:pt x="66" y="0"/>
                  </a:cubicBezTo>
                  <a:cubicBezTo>
                    <a:pt x="69" y="0"/>
                    <a:pt x="72" y="2"/>
                    <a:pt x="72" y="6"/>
                  </a:cubicBezTo>
                  <a:cubicBezTo>
                    <a:pt x="72" y="42"/>
                    <a:pt x="72" y="42"/>
                    <a:pt x="72" y="42"/>
                  </a:cubicBezTo>
                  <a:cubicBezTo>
                    <a:pt x="72" y="55"/>
                    <a:pt x="68" y="62"/>
                    <a:pt x="60" y="65"/>
                  </a:cubicBezTo>
                  <a:cubicBezTo>
                    <a:pt x="60" y="114"/>
                    <a:pt x="60" y="114"/>
                    <a:pt x="60" y="114"/>
                  </a:cubicBezTo>
                  <a:cubicBezTo>
                    <a:pt x="60" y="117"/>
                    <a:pt x="57" y="120"/>
                    <a:pt x="54" y="120"/>
                  </a:cubicBezTo>
                  <a:close/>
                  <a:moveTo>
                    <a:pt x="24" y="108"/>
                  </a:moveTo>
                  <a:cubicBezTo>
                    <a:pt x="48" y="108"/>
                    <a:pt x="48" y="108"/>
                    <a:pt x="48" y="108"/>
                  </a:cubicBezTo>
                  <a:cubicBezTo>
                    <a:pt x="48" y="60"/>
                    <a:pt x="48" y="60"/>
                    <a:pt x="48" y="60"/>
                  </a:cubicBezTo>
                  <a:cubicBezTo>
                    <a:pt x="48" y="56"/>
                    <a:pt x="51" y="54"/>
                    <a:pt x="54" y="54"/>
                  </a:cubicBezTo>
                  <a:cubicBezTo>
                    <a:pt x="57" y="54"/>
                    <a:pt x="60" y="54"/>
                    <a:pt x="60" y="42"/>
                  </a:cubicBezTo>
                  <a:cubicBezTo>
                    <a:pt x="60" y="12"/>
                    <a:pt x="60" y="12"/>
                    <a:pt x="60" y="12"/>
                  </a:cubicBezTo>
                  <a:cubicBezTo>
                    <a:pt x="12" y="12"/>
                    <a:pt x="12" y="12"/>
                    <a:pt x="12" y="12"/>
                  </a:cubicBezTo>
                  <a:cubicBezTo>
                    <a:pt x="12" y="42"/>
                    <a:pt x="12" y="42"/>
                    <a:pt x="12" y="42"/>
                  </a:cubicBezTo>
                  <a:cubicBezTo>
                    <a:pt x="12" y="54"/>
                    <a:pt x="15" y="54"/>
                    <a:pt x="18" y="54"/>
                  </a:cubicBezTo>
                  <a:cubicBezTo>
                    <a:pt x="21" y="54"/>
                    <a:pt x="24" y="56"/>
                    <a:pt x="24" y="60"/>
                  </a:cubicBezTo>
                  <a:lnTo>
                    <a:pt x="2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7" name="Freeform 43">
              <a:extLst>
                <a:ext uri="{FF2B5EF4-FFF2-40B4-BE49-F238E27FC236}">
                  <a16:creationId xmlns:a16="http://schemas.microsoft.com/office/drawing/2014/main" id="{0B22C036-1BF3-914B-849D-BDC1213AB0A1}"/>
                </a:ext>
              </a:extLst>
            </p:cNvPr>
            <p:cNvSpPr>
              <a:spLocks noEditPoints="1"/>
            </p:cNvSpPr>
            <p:nvPr/>
          </p:nvSpPr>
          <p:spPr bwMode="auto">
            <a:xfrm>
              <a:off x="4800" y="815"/>
              <a:ext cx="147" cy="251"/>
            </a:xfrm>
            <a:custGeom>
              <a:avLst/>
              <a:gdLst>
                <a:gd name="T0" fmla="*/ 66 w 96"/>
                <a:gd name="T1" fmla="*/ 168 h 168"/>
                <a:gd name="T2" fmla="*/ 30 w 96"/>
                <a:gd name="T3" fmla="*/ 168 h 168"/>
                <a:gd name="T4" fmla="*/ 24 w 96"/>
                <a:gd name="T5" fmla="*/ 162 h 168"/>
                <a:gd name="T6" fmla="*/ 24 w 96"/>
                <a:gd name="T7" fmla="*/ 95 h 168"/>
                <a:gd name="T8" fmla="*/ 0 w 96"/>
                <a:gd name="T9" fmla="*/ 66 h 168"/>
                <a:gd name="T10" fmla="*/ 0 w 96"/>
                <a:gd name="T11" fmla="*/ 6 h 168"/>
                <a:gd name="T12" fmla="*/ 6 w 96"/>
                <a:gd name="T13" fmla="*/ 0 h 168"/>
                <a:gd name="T14" fmla="*/ 90 w 96"/>
                <a:gd name="T15" fmla="*/ 0 h 168"/>
                <a:gd name="T16" fmla="*/ 96 w 96"/>
                <a:gd name="T17" fmla="*/ 6 h 168"/>
                <a:gd name="T18" fmla="*/ 96 w 96"/>
                <a:gd name="T19" fmla="*/ 66 h 168"/>
                <a:gd name="T20" fmla="*/ 72 w 96"/>
                <a:gd name="T21" fmla="*/ 95 h 168"/>
                <a:gd name="T22" fmla="*/ 72 w 96"/>
                <a:gd name="T23" fmla="*/ 162 h 168"/>
                <a:gd name="T24" fmla="*/ 66 w 96"/>
                <a:gd name="T25" fmla="*/ 168 h 168"/>
                <a:gd name="T26" fmla="*/ 36 w 96"/>
                <a:gd name="T27" fmla="*/ 156 h 168"/>
                <a:gd name="T28" fmla="*/ 60 w 96"/>
                <a:gd name="T29" fmla="*/ 156 h 168"/>
                <a:gd name="T30" fmla="*/ 60 w 96"/>
                <a:gd name="T31" fmla="*/ 90 h 168"/>
                <a:gd name="T32" fmla="*/ 66 w 96"/>
                <a:gd name="T33" fmla="*/ 84 h 168"/>
                <a:gd name="T34" fmla="*/ 84 w 96"/>
                <a:gd name="T35" fmla="*/ 66 h 168"/>
                <a:gd name="T36" fmla="*/ 84 w 96"/>
                <a:gd name="T37" fmla="*/ 12 h 168"/>
                <a:gd name="T38" fmla="*/ 12 w 96"/>
                <a:gd name="T39" fmla="*/ 12 h 168"/>
                <a:gd name="T40" fmla="*/ 12 w 96"/>
                <a:gd name="T41" fmla="*/ 66 h 168"/>
                <a:gd name="T42" fmla="*/ 30 w 96"/>
                <a:gd name="T43" fmla="*/ 84 h 168"/>
                <a:gd name="T44" fmla="*/ 36 w 96"/>
                <a:gd name="T45" fmla="*/ 90 h 168"/>
                <a:gd name="T46" fmla="*/ 36 w 96"/>
                <a:gd name="T4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68">
                  <a:moveTo>
                    <a:pt x="66" y="168"/>
                  </a:moveTo>
                  <a:cubicBezTo>
                    <a:pt x="30" y="168"/>
                    <a:pt x="30" y="168"/>
                    <a:pt x="30" y="168"/>
                  </a:cubicBezTo>
                  <a:cubicBezTo>
                    <a:pt x="27" y="168"/>
                    <a:pt x="24" y="165"/>
                    <a:pt x="24" y="162"/>
                  </a:cubicBezTo>
                  <a:cubicBezTo>
                    <a:pt x="24" y="95"/>
                    <a:pt x="24" y="95"/>
                    <a:pt x="24" y="95"/>
                  </a:cubicBezTo>
                  <a:cubicBezTo>
                    <a:pt x="10" y="92"/>
                    <a:pt x="0" y="80"/>
                    <a:pt x="0" y="66"/>
                  </a:cubicBezTo>
                  <a:cubicBezTo>
                    <a:pt x="0" y="6"/>
                    <a:pt x="0" y="6"/>
                    <a:pt x="0" y="6"/>
                  </a:cubicBezTo>
                  <a:cubicBezTo>
                    <a:pt x="0" y="2"/>
                    <a:pt x="3" y="0"/>
                    <a:pt x="6" y="0"/>
                  </a:cubicBezTo>
                  <a:cubicBezTo>
                    <a:pt x="90" y="0"/>
                    <a:pt x="90" y="0"/>
                    <a:pt x="90" y="0"/>
                  </a:cubicBezTo>
                  <a:cubicBezTo>
                    <a:pt x="93" y="0"/>
                    <a:pt x="96" y="2"/>
                    <a:pt x="96" y="6"/>
                  </a:cubicBezTo>
                  <a:cubicBezTo>
                    <a:pt x="96" y="66"/>
                    <a:pt x="96" y="66"/>
                    <a:pt x="96" y="66"/>
                  </a:cubicBezTo>
                  <a:cubicBezTo>
                    <a:pt x="96" y="80"/>
                    <a:pt x="86" y="92"/>
                    <a:pt x="72" y="95"/>
                  </a:cubicBezTo>
                  <a:cubicBezTo>
                    <a:pt x="72" y="162"/>
                    <a:pt x="72" y="162"/>
                    <a:pt x="72" y="162"/>
                  </a:cubicBezTo>
                  <a:cubicBezTo>
                    <a:pt x="72" y="165"/>
                    <a:pt x="69" y="168"/>
                    <a:pt x="66" y="168"/>
                  </a:cubicBezTo>
                  <a:close/>
                  <a:moveTo>
                    <a:pt x="36" y="156"/>
                  </a:moveTo>
                  <a:cubicBezTo>
                    <a:pt x="60" y="156"/>
                    <a:pt x="60" y="156"/>
                    <a:pt x="60" y="156"/>
                  </a:cubicBezTo>
                  <a:cubicBezTo>
                    <a:pt x="60" y="90"/>
                    <a:pt x="60" y="90"/>
                    <a:pt x="60" y="90"/>
                  </a:cubicBezTo>
                  <a:cubicBezTo>
                    <a:pt x="60" y="86"/>
                    <a:pt x="63" y="84"/>
                    <a:pt x="66" y="84"/>
                  </a:cubicBezTo>
                  <a:cubicBezTo>
                    <a:pt x="76" y="84"/>
                    <a:pt x="84" y="76"/>
                    <a:pt x="84" y="66"/>
                  </a:cubicBezTo>
                  <a:cubicBezTo>
                    <a:pt x="84" y="12"/>
                    <a:pt x="84" y="12"/>
                    <a:pt x="84" y="12"/>
                  </a:cubicBezTo>
                  <a:cubicBezTo>
                    <a:pt x="12" y="12"/>
                    <a:pt x="12" y="12"/>
                    <a:pt x="12" y="12"/>
                  </a:cubicBezTo>
                  <a:cubicBezTo>
                    <a:pt x="12" y="66"/>
                    <a:pt x="12" y="66"/>
                    <a:pt x="12" y="66"/>
                  </a:cubicBezTo>
                  <a:cubicBezTo>
                    <a:pt x="12" y="76"/>
                    <a:pt x="20" y="84"/>
                    <a:pt x="30" y="84"/>
                  </a:cubicBezTo>
                  <a:cubicBezTo>
                    <a:pt x="33" y="84"/>
                    <a:pt x="36" y="86"/>
                    <a:pt x="36" y="90"/>
                  </a:cubicBezTo>
                  <a:lnTo>
                    <a:pt x="3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8" name="Freeform 44">
              <a:extLst>
                <a:ext uri="{FF2B5EF4-FFF2-40B4-BE49-F238E27FC236}">
                  <a16:creationId xmlns:a16="http://schemas.microsoft.com/office/drawing/2014/main" id="{E8B7DC9C-B6E3-214C-96AB-8281516F4326}"/>
                </a:ext>
              </a:extLst>
            </p:cNvPr>
            <p:cNvSpPr>
              <a:spLocks noEditPoints="1"/>
            </p:cNvSpPr>
            <p:nvPr/>
          </p:nvSpPr>
          <p:spPr bwMode="auto">
            <a:xfrm>
              <a:off x="4671"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9" name="Freeform 45">
              <a:extLst>
                <a:ext uri="{FF2B5EF4-FFF2-40B4-BE49-F238E27FC236}">
                  <a16:creationId xmlns:a16="http://schemas.microsoft.com/office/drawing/2014/main" id="{397E29E0-4660-AC44-AA91-82129C1E3367}"/>
                </a:ext>
              </a:extLst>
            </p:cNvPr>
            <p:cNvSpPr>
              <a:spLocks noEditPoints="1"/>
            </p:cNvSpPr>
            <p:nvPr/>
          </p:nvSpPr>
          <p:spPr bwMode="auto">
            <a:xfrm>
              <a:off x="5002" y="726"/>
              <a:ext cx="74"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7" y="12"/>
                    <a:pt x="12" y="17"/>
                    <a:pt x="12" y="24"/>
                  </a:cubicBezTo>
                  <a:cubicBezTo>
                    <a:pt x="12" y="30"/>
                    <a:pt x="17"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0" name="Freeform 46">
              <a:extLst>
                <a:ext uri="{FF2B5EF4-FFF2-40B4-BE49-F238E27FC236}">
                  <a16:creationId xmlns:a16="http://schemas.microsoft.com/office/drawing/2014/main" id="{30250504-C013-FB41-8C0E-CC245995DB46}"/>
                </a:ext>
              </a:extLst>
            </p:cNvPr>
            <p:cNvSpPr>
              <a:spLocks noEditPoints="1"/>
            </p:cNvSpPr>
            <p:nvPr/>
          </p:nvSpPr>
          <p:spPr bwMode="auto">
            <a:xfrm>
              <a:off x="4818" y="690"/>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5"/>
                    <a:pt x="0" y="36"/>
                  </a:cubicBezTo>
                  <a:cubicBezTo>
                    <a:pt x="0" y="16"/>
                    <a:pt x="16" y="0"/>
                    <a:pt x="36" y="0"/>
                  </a:cubicBezTo>
                  <a:cubicBezTo>
                    <a:pt x="56" y="0"/>
                    <a:pt x="72" y="16"/>
                    <a:pt x="72" y="36"/>
                  </a:cubicBezTo>
                  <a:cubicBezTo>
                    <a:pt x="72" y="55"/>
                    <a:pt x="56" y="72"/>
                    <a:pt x="36" y="72"/>
                  </a:cubicBezTo>
                  <a:close/>
                  <a:moveTo>
                    <a:pt x="36" y="12"/>
                  </a:moveTo>
                  <a:cubicBezTo>
                    <a:pt x="23" y="12"/>
                    <a:pt x="12" y="22"/>
                    <a:pt x="12" y="36"/>
                  </a:cubicBezTo>
                  <a:cubicBezTo>
                    <a:pt x="12" y="49"/>
                    <a:pt x="23" y="60"/>
                    <a:pt x="36" y="60"/>
                  </a:cubicBezTo>
                  <a:cubicBezTo>
                    <a:pt x="49" y="60"/>
                    <a:pt x="60" y="49"/>
                    <a:pt x="60" y="36"/>
                  </a:cubicBezTo>
                  <a:cubicBezTo>
                    <a:pt x="60" y="22"/>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81" name="Group 122">
            <a:extLst>
              <a:ext uri="{FF2B5EF4-FFF2-40B4-BE49-F238E27FC236}">
                <a16:creationId xmlns:a16="http://schemas.microsoft.com/office/drawing/2014/main" id="{67283CD5-0255-B34C-BF7E-E084473C74C8}"/>
              </a:ext>
            </a:extLst>
          </p:cNvPr>
          <p:cNvGrpSpPr>
            <a:grpSpLocks noChangeAspect="1"/>
          </p:cNvGrpSpPr>
          <p:nvPr userDrawn="1"/>
        </p:nvGrpSpPr>
        <p:grpSpPr bwMode="auto">
          <a:xfrm>
            <a:off x="9677138" y="4315989"/>
            <a:ext cx="496566" cy="484180"/>
            <a:chOff x="487" y="3214"/>
            <a:chExt cx="441" cy="430"/>
          </a:xfrm>
          <a:solidFill>
            <a:schemeClr val="accent1"/>
          </a:solidFill>
        </p:grpSpPr>
        <p:sp>
          <p:nvSpPr>
            <p:cNvPr id="282" name="Freeform 123">
              <a:extLst>
                <a:ext uri="{FF2B5EF4-FFF2-40B4-BE49-F238E27FC236}">
                  <a16:creationId xmlns:a16="http://schemas.microsoft.com/office/drawing/2014/main" id="{72773FE5-CE95-0F4A-A086-070B43C2F3E0}"/>
                </a:ext>
              </a:extLst>
            </p:cNvPr>
            <p:cNvSpPr>
              <a:spLocks noEditPoints="1"/>
            </p:cNvSpPr>
            <p:nvPr/>
          </p:nvSpPr>
          <p:spPr bwMode="auto">
            <a:xfrm>
              <a:off x="579" y="3214"/>
              <a:ext cx="257" cy="233"/>
            </a:xfrm>
            <a:custGeom>
              <a:avLst/>
              <a:gdLst>
                <a:gd name="T0" fmla="*/ 66 w 168"/>
                <a:gd name="T1" fmla="*/ 156 h 156"/>
                <a:gd name="T2" fmla="*/ 62 w 168"/>
                <a:gd name="T3" fmla="*/ 154 h 156"/>
                <a:gd name="T4" fmla="*/ 28 w 168"/>
                <a:gd name="T5" fmla="*/ 120 h 156"/>
                <a:gd name="T6" fmla="*/ 18 w 168"/>
                <a:gd name="T7" fmla="*/ 120 h 156"/>
                <a:gd name="T8" fmla="*/ 0 w 168"/>
                <a:gd name="T9" fmla="*/ 102 h 156"/>
                <a:gd name="T10" fmla="*/ 0 w 168"/>
                <a:gd name="T11" fmla="*/ 18 h 156"/>
                <a:gd name="T12" fmla="*/ 18 w 168"/>
                <a:gd name="T13" fmla="*/ 0 h 156"/>
                <a:gd name="T14" fmla="*/ 150 w 168"/>
                <a:gd name="T15" fmla="*/ 0 h 156"/>
                <a:gd name="T16" fmla="*/ 168 w 168"/>
                <a:gd name="T17" fmla="*/ 18 h 156"/>
                <a:gd name="T18" fmla="*/ 168 w 168"/>
                <a:gd name="T19" fmla="*/ 102 h 156"/>
                <a:gd name="T20" fmla="*/ 150 w 168"/>
                <a:gd name="T21" fmla="*/ 120 h 156"/>
                <a:gd name="T22" fmla="*/ 72 w 168"/>
                <a:gd name="T23" fmla="*/ 120 h 156"/>
                <a:gd name="T24" fmla="*/ 72 w 168"/>
                <a:gd name="T25" fmla="*/ 150 h 156"/>
                <a:gd name="T26" fmla="*/ 69 w 168"/>
                <a:gd name="T27" fmla="*/ 156 h 156"/>
                <a:gd name="T28" fmla="*/ 66 w 168"/>
                <a:gd name="T29" fmla="*/ 156 h 156"/>
                <a:gd name="T30" fmla="*/ 18 w 168"/>
                <a:gd name="T31" fmla="*/ 12 h 156"/>
                <a:gd name="T32" fmla="*/ 12 w 168"/>
                <a:gd name="T33" fmla="*/ 18 h 156"/>
                <a:gd name="T34" fmla="*/ 12 w 168"/>
                <a:gd name="T35" fmla="*/ 102 h 156"/>
                <a:gd name="T36" fmla="*/ 18 w 168"/>
                <a:gd name="T37" fmla="*/ 108 h 156"/>
                <a:gd name="T38" fmla="*/ 30 w 168"/>
                <a:gd name="T39" fmla="*/ 108 h 156"/>
                <a:gd name="T40" fmla="*/ 34 w 168"/>
                <a:gd name="T41" fmla="*/ 110 h 156"/>
                <a:gd name="T42" fmla="*/ 60 w 168"/>
                <a:gd name="T43" fmla="*/ 136 h 156"/>
                <a:gd name="T44" fmla="*/ 60 w 168"/>
                <a:gd name="T45" fmla="*/ 114 h 156"/>
                <a:gd name="T46" fmla="*/ 66 w 168"/>
                <a:gd name="T47" fmla="*/ 108 h 156"/>
                <a:gd name="T48" fmla="*/ 150 w 168"/>
                <a:gd name="T49" fmla="*/ 108 h 156"/>
                <a:gd name="T50" fmla="*/ 156 w 168"/>
                <a:gd name="T51" fmla="*/ 102 h 156"/>
                <a:gd name="T52" fmla="*/ 156 w 168"/>
                <a:gd name="T53" fmla="*/ 18 h 156"/>
                <a:gd name="T54" fmla="*/ 150 w 168"/>
                <a:gd name="T55" fmla="*/ 12 h 156"/>
                <a:gd name="T56" fmla="*/ 18 w 168"/>
                <a:gd name="T57"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156">
                  <a:moveTo>
                    <a:pt x="66" y="156"/>
                  </a:moveTo>
                  <a:cubicBezTo>
                    <a:pt x="65" y="156"/>
                    <a:pt x="63" y="156"/>
                    <a:pt x="62" y="154"/>
                  </a:cubicBezTo>
                  <a:cubicBezTo>
                    <a:pt x="28" y="120"/>
                    <a:pt x="28" y="120"/>
                    <a:pt x="28" y="120"/>
                  </a:cubicBezTo>
                  <a:cubicBezTo>
                    <a:pt x="18" y="120"/>
                    <a:pt x="18" y="120"/>
                    <a:pt x="18" y="120"/>
                  </a:cubicBezTo>
                  <a:cubicBezTo>
                    <a:pt x="8" y="120"/>
                    <a:pt x="0" y="112"/>
                    <a:pt x="0" y="102"/>
                  </a:cubicBezTo>
                  <a:cubicBezTo>
                    <a:pt x="0" y="18"/>
                    <a:pt x="0" y="18"/>
                    <a:pt x="0" y="18"/>
                  </a:cubicBezTo>
                  <a:cubicBezTo>
                    <a:pt x="0" y="8"/>
                    <a:pt x="8" y="0"/>
                    <a:pt x="18" y="0"/>
                  </a:cubicBezTo>
                  <a:cubicBezTo>
                    <a:pt x="150" y="0"/>
                    <a:pt x="150" y="0"/>
                    <a:pt x="150" y="0"/>
                  </a:cubicBezTo>
                  <a:cubicBezTo>
                    <a:pt x="160" y="0"/>
                    <a:pt x="168" y="8"/>
                    <a:pt x="168" y="18"/>
                  </a:cubicBezTo>
                  <a:cubicBezTo>
                    <a:pt x="168" y="102"/>
                    <a:pt x="168" y="102"/>
                    <a:pt x="168" y="102"/>
                  </a:cubicBezTo>
                  <a:cubicBezTo>
                    <a:pt x="168" y="112"/>
                    <a:pt x="160" y="120"/>
                    <a:pt x="150" y="120"/>
                  </a:cubicBezTo>
                  <a:cubicBezTo>
                    <a:pt x="72" y="120"/>
                    <a:pt x="72" y="120"/>
                    <a:pt x="72" y="120"/>
                  </a:cubicBezTo>
                  <a:cubicBezTo>
                    <a:pt x="72" y="150"/>
                    <a:pt x="72" y="150"/>
                    <a:pt x="72" y="150"/>
                  </a:cubicBezTo>
                  <a:cubicBezTo>
                    <a:pt x="72" y="153"/>
                    <a:pt x="71" y="155"/>
                    <a:pt x="69" y="156"/>
                  </a:cubicBezTo>
                  <a:cubicBezTo>
                    <a:pt x="68" y="156"/>
                    <a:pt x="67" y="156"/>
                    <a:pt x="66" y="156"/>
                  </a:cubicBezTo>
                  <a:close/>
                  <a:moveTo>
                    <a:pt x="18" y="12"/>
                  </a:moveTo>
                  <a:cubicBezTo>
                    <a:pt x="15" y="12"/>
                    <a:pt x="12" y="15"/>
                    <a:pt x="12" y="18"/>
                  </a:cubicBezTo>
                  <a:cubicBezTo>
                    <a:pt x="12" y="102"/>
                    <a:pt x="12" y="102"/>
                    <a:pt x="12" y="102"/>
                  </a:cubicBezTo>
                  <a:cubicBezTo>
                    <a:pt x="12" y="105"/>
                    <a:pt x="15" y="108"/>
                    <a:pt x="18" y="108"/>
                  </a:cubicBezTo>
                  <a:cubicBezTo>
                    <a:pt x="30" y="108"/>
                    <a:pt x="30" y="108"/>
                    <a:pt x="30" y="108"/>
                  </a:cubicBezTo>
                  <a:cubicBezTo>
                    <a:pt x="32" y="108"/>
                    <a:pt x="33" y="109"/>
                    <a:pt x="34" y="110"/>
                  </a:cubicBezTo>
                  <a:cubicBezTo>
                    <a:pt x="60" y="136"/>
                    <a:pt x="60" y="136"/>
                    <a:pt x="60" y="136"/>
                  </a:cubicBezTo>
                  <a:cubicBezTo>
                    <a:pt x="60" y="114"/>
                    <a:pt x="60" y="114"/>
                    <a:pt x="60" y="114"/>
                  </a:cubicBezTo>
                  <a:cubicBezTo>
                    <a:pt x="60" y="111"/>
                    <a:pt x="63" y="108"/>
                    <a:pt x="66" y="108"/>
                  </a:cubicBezTo>
                  <a:cubicBezTo>
                    <a:pt x="150" y="108"/>
                    <a:pt x="150" y="108"/>
                    <a:pt x="150" y="108"/>
                  </a:cubicBezTo>
                  <a:cubicBezTo>
                    <a:pt x="154" y="108"/>
                    <a:pt x="156" y="105"/>
                    <a:pt x="156" y="102"/>
                  </a:cubicBezTo>
                  <a:cubicBezTo>
                    <a:pt x="156" y="18"/>
                    <a:pt x="156" y="18"/>
                    <a:pt x="156" y="18"/>
                  </a:cubicBezTo>
                  <a:cubicBezTo>
                    <a:pt x="156" y="15"/>
                    <a:pt x="154" y="12"/>
                    <a:pt x="15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3" name="Freeform 124">
              <a:extLst>
                <a:ext uri="{FF2B5EF4-FFF2-40B4-BE49-F238E27FC236}">
                  <a16:creationId xmlns:a16="http://schemas.microsoft.com/office/drawing/2014/main" id="{6CDD5E0D-6567-8F41-ADDA-4873270097A1}"/>
                </a:ext>
              </a:extLst>
            </p:cNvPr>
            <p:cNvSpPr>
              <a:spLocks noEditPoints="1"/>
            </p:cNvSpPr>
            <p:nvPr/>
          </p:nvSpPr>
          <p:spPr bwMode="auto">
            <a:xfrm>
              <a:off x="790"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4" name="Freeform 125">
              <a:extLst>
                <a:ext uri="{FF2B5EF4-FFF2-40B4-BE49-F238E27FC236}">
                  <a16:creationId xmlns:a16="http://schemas.microsoft.com/office/drawing/2014/main" id="{5E033DBE-D634-B34B-A4D9-A3AB7C0A517D}"/>
                </a:ext>
              </a:extLst>
            </p:cNvPr>
            <p:cNvSpPr>
              <a:spLocks noEditPoints="1"/>
            </p:cNvSpPr>
            <p:nvPr/>
          </p:nvSpPr>
          <p:spPr bwMode="auto">
            <a:xfrm>
              <a:off x="763"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5" name="Freeform 126">
              <a:extLst>
                <a:ext uri="{FF2B5EF4-FFF2-40B4-BE49-F238E27FC236}">
                  <a16:creationId xmlns:a16="http://schemas.microsoft.com/office/drawing/2014/main" id="{88700ED7-B9BA-B04A-9A1A-F877F79FB300}"/>
                </a:ext>
              </a:extLst>
            </p:cNvPr>
            <p:cNvSpPr>
              <a:spLocks noEditPoints="1"/>
            </p:cNvSpPr>
            <p:nvPr/>
          </p:nvSpPr>
          <p:spPr bwMode="auto">
            <a:xfrm>
              <a:off x="515" y="3411"/>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6" name="Freeform 127">
              <a:extLst>
                <a:ext uri="{FF2B5EF4-FFF2-40B4-BE49-F238E27FC236}">
                  <a16:creationId xmlns:a16="http://schemas.microsoft.com/office/drawing/2014/main" id="{BD63F862-ED81-B442-A78A-FA6F5D451E40}"/>
                </a:ext>
              </a:extLst>
            </p:cNvPr>
            <p:cNvSpPr>
              <a:spLocks noEditPoints="1"/>
            </p:cNvSpPr>
            <p:nvPr/>
          </p:nvSpPr>
          <p:spPr bwMode="auto">
            <a:xfrm>
              <a:off x="487" y="3501"/>
              <a:ext cx="165" cy="89"/>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7" name="Freeform 128">
              <a:extLst>
                <a:ext uri="{FF2B5EF4-FFF2-40B4-BE49-F238E27FC236}">
                  <a16:creationId xmlns:a16="http://schemas.microsoft.com/office/drawing/2014/main" id="{52268FC6-A33C-ED46-9336-05D86CD13697}"/>
                </a:ext>
              </a:extLst>
            </p:cNvPr>
            <p:cNvSpPr>
              <a:spLocks noEditPoints="1"/>
            </p:cNvSpPr>
            <p:nvPr/>
          </p:nvSpPr>
          <p:spPr bwMode="auto">
            <a:xfrm>
              <a:off x="652" y="3465"/>
              <a:ext cx="111" cy="107"/>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50"/>
                    <a:pt x="23" y="60"/>
                    <a:pt x="36" y="60"/>
                  </a:cubicBezTo>
                  <a:cubicBezTo>
                    <a:pt x="49" y="60"/>
                    <a:pt x="60" y="50"/>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8" name="Freeform 129">
              <a:extLst>
                <a:ext uri="{FF2B5EF4-FFF2-40B4-BE49-F238E27FC236}">
                  <a16:creationId xmlns:a16="http://schemas.microsoft.com/office/drawing/2014/main" id="{56D30168-2DF4-C24E-A79D-080A99416751}"/>
                </a:ext>
              </a:extLst>
            </p:cNvPr>
            <p:cNvSpPr>
              <a:spLocks noEditPoints="1"/>
            </p:cNvSpPr>
            <p:nvPr/>
          </p:nvSpPr>
          <p:spPr bwMode="auto">
            <a:xfrm>
              <a:off x="625" y="3554"/>
              <a:ext cx="165" cy="90"/>
            </a:xfrm>
            <a:custGeom>
              <a:avLst/>
              <a:gdLst>
                <a:gd name="T0" fmla="*/ 102 w 108"/>
                <a:gd name="T1" fmla="*/ 60 h 60"/>
                <a:gd name="T2" fmla="*/ 6 w 108"/>
                <a:gd name="T3" fmla="*/ 60 h 60"/>
                <a:gd name="T4" fmla="*/ 0 w 108"/>
                <a:gd name="T5" fmla="*/ 54 h 60"/>
                <a:gd name="T6" fmla="*/ 54 w 108"/>
                <a:gd name="T7" fmla="*/ 0 h 60"/>
                <a:gd name="T8" fmla="*/ 108 w 108"/>
                <a:gd name="T9" fmla="*/ 54 h 60"/>
                <a:gd name="T10" fmla="*/ 102 w 108"/>
                <a:gd name="T11" fmla="*/ 60 h 60"/>
                <a:gd name="T12" fmla="*/ 13 w 108"/>
                <a:gd name="T13" fmla="*/ 48 h 60"/>
                <a:gd name="T14" fmla="*/ 96 w 108"/>
                <a:gd name="T15" fmla="*/ 48 h 60"/>
                <a:gd name="T16" fmla="*/ 54 w 108"/>
                <a:gd name="T17" fmla="*/ 12 h 60"/>
                <a:gd name="T18" fmla="*/ 13 w 108"/>
                <a:gd name="T19"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60">
                  <a:moveTo>
                    <a:pt x="102" y="60"/>
                  </a:moveTo>
                  <a:cubicBezTo>
                    <a:pt x="6" y="60"/>
                    <a:pt x="6" y="60"/>
                    <a:pt x="6" y="60"/>
                  </a:cubicBezTo>
                  <a:cubicBezTo>
                    <a:pt x="3" y="60"/>
                    <a:pt x="0" y="58"/>
                    <a:pt x="0" y="54"/>
                  </a:cubicBezTo>
                  <a:cubicBezTo>
                    <a:pt x="0" y="25"/>
                    <a:pt x="24" y="0"/>
                    <a:pt x="54" y="0"/>
                  </a:cubicBezTo>
                  <a:cubicBezTo>
                    <a:pt x="84" y="0"/>
                    <a:pt x="108" y="25"/>
                    <a:pt x="108" y="54"/>
                  </a:cubicBezTo>
                  <a:cubicBezTo>
                    <a:pt x="108" y="58"/>
                    <a:pt x="106" y="60"/>
                    <a:pt x="102" y="60"/>
                  </a:cubicBezTo>
                  <a:close/>
                  <a:moveTo>
                    <a:pt x="13" y="48"/>
                  </a:moveTo>
                  <a:cubicBezTo>
                    <a:pt x="96" y="48"/>
                    <a:pt x="96" y="48"/>
                    <a:pt x="96" y="48"/>
                  </a:cubicBezTo>
                  <a:cubicBezTo>
                    <a:pt x="93" y="28"/>
                    <a:pt x="75" y="12"/>
                    <a:pt x="54" y="12"/>
                  </a:cubicBezTo>
                  <a:cubicBezTo>
                    <a:pt x="33" y="12"/>
                    <a:pt x="16" y="28"/>
                    <a:pt x="1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9" name="Freeform 130">
              <a:extLst>
                <a:ext uri="{FF2B5EF4-FFF2-40B4-BE49-F238E27FC236}">
                  <a16:creationId xmlns:a16="http://schemas.microsoft.com/office/drawing/2014/main" id="{A4CCAC9E-9F1D-7349-BC9A-B1EF22D519BF}"/>
                </a:ext>
              </a:extLst>
            </p:cNvPr>
            <p:cNvSpPr>
              <a:spLocks/>
            </p:cNvSpPr>
            <p:nvPr/>
          </p:nvSpPr>
          <p:spPr bwMode="auto">
            <a:xfrm>
              <a:off x="634" y="3250"/>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0" name="Freeform 131">
              <a:extLst>
                <a:ext uri="{FF2B5EF4-FFF2-40B4-BE49-F238E27FC236}">
                  <a16:creationId xmlns:a16="http://schemas.microsoft.com/office/drawing/2014/main" id="{747CB487-9672-EB4E-BF7A-C18B01144E97}"/>
                </a:ext>
              </a:extLst>
            </p:cNvPr>
            <p:cNvSpPr>
              <a:spLocks/>
            </p:cNvSpPr>
            <p:nvPr/>
          </p:nvSpPr>
          <p:spPr bwMode="auto">
            <a:xfrm>
              <a:off x="634" y="3286"/>
              <a:ext cx="147"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1" name="Freeform 132">
              <a:extLst>
                <a:ext uri="{FF2B5EF4-FFF2-40B4-BE49-F238E27FC236}">
                  <a16:creationId xmlns:a16="http://schemas.microsoft.com/office/drawing/2014/main" id="{5B3A23BE-3A97-9841-A871-547EA51CCD45}"/>
                </a:ext>
              </a:extLst>
            </p:cNvPr>
            <p:cNvSpPr>
              <a:spLocks/>
            </p:cNvSpPr>
            <p:nvPr/>
          </p:nvSpPr>
          <p:spPr bwMode="auto">
            <a:xfrm>
              <a:off x="634" y="3322"/>
              <a:ext cx="147" cy="17"/>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3" y="0"/>
                    <a:pt x="96" y="3"/>
                    <a:pt x="96" y="6"/>
                  </a:cubicBezTo>
                  <a:cubicBezTo>
                    <a:pt x="96" y="9"/>
                    <a:pt x="9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292" name="Group 140">
            <a:extLst>
              <a:ext uri="{FF2B5EF4-FFF2-40B4-BE49-F238E27FC236}">
                <a16:creationId xmlns:a16="http://schemas.microsoft.com/office/drawing/2014/main" id="{AA388C1F-8ED0-A044-89DE-83D0EEEFC80D}"/>
              </a:ext>
            </a:extLst>
          </p:cNvPr>
          <p:cNvGrpSpPr>
            <a:grpSpLocks noChangeAspect="1"/>
          </p:cNvGrpSpPr>
          <p:nvPr userDrawn="1"/>
        </p:nvGrpSpPr>
        <p:grpSpPr bwMode="auto">
          <a:xfrm>
            <a:off x="10942164" y="1923077"/>
            <a:ext cx="513762" cy="513760"/>
            <a:chOff x="1560" y="3157"/>
            <a:chExt cx="426" cy="426"/>
          </a:xfrm>
          <a:solidFill>
            <a:schemeClr val="accent1"/>
          </a:solidFill>
        </p:grpSpPr>
        <p:sp>
          <p:nvSpPr>
            <p:cNvPr id="293" name="Freeform 141">
              <a:extLst>
                <a:ext uri="{FF2B5EF4-FFF2-40B4-BE49-F238E27FC236}">
                  <a16:creationId xmlns:a16="http://schemas.microsoft.com/office/drawing/2014/main" id="{6DC37675-C2E9-FC4D-97FC-14D1439C69D6}"/>
                </a:ext>
              </a:extLst>
            </p:cNvPr>
            <p:cNvSpPr>
              <a:spLocks noEditPoints="1"/>
            </p:cNvSpPr>
            <p:nvPr/>
          </p:nvSpPr>
          <p:spPr bwMode="auto">
            <a:xfrm>
              <a:off x="1702" y="3211"/>
              <a:ext cx="142" cy="141"/>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5"/>
                    <a:pt x="0" y="48"/>
                  </a:cubicBezTo>
                  <a:cubicBezTo>
                    <a:pt x="0" y="22"/>
                    <a:pt x="22" y="0"/>
                    <a:pt x="48" y="0"/>
                  </a:cubicBezTo>
                  <a:cubicBezTo>
                    <a:pt x="75" y="0"/>
                    <a:pt x="96" y="22"/>
                    <a:pt x="96" y="48"/>
                  </a:cubicBezTo>
                  <a:cubicBezTo>
                    <a:pt x="96" y="75"/>
                    <a:pt x="75" y="96"/>
                    <a:pt x="48" y="96"/>
                  </a:cubicBezTo>
                  <a:close/>
                  <a:moveTo>
                    <a:pt x="48" y="12"/>
                  </a:moveTo>
                  <a:cubicBezTo>
                    <a:pt x="28" y="12"/>
                    <a:pt x="12" y="29"/>
                    <a:pt x="12" y="48"/>
                  </a:cubicBezTo>
                  <a:cubicBezTo>
                    <a:pt x="12" y="68"/>
                    <a:pt x="28" y="84"/>
                    <a:pt x="48" y="84"/>
                  </a:cubicBezTo>
                  <a:cubicBezTo>
                    <a:pt x="68" y="84"/>
                    <a:pt x="84" y="68"/>
                    <a:pt x="84" y="48"/>
                  </a:cubicBezTo>
                  <a:cubicBezTo>
                    <a:pt x="84" y="29"/>
                    <a:pt x="68"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4" name="Freeform 142">
              <a:extLst>
                <a:ext uri="{FF2B5EF4-FFF2-40B4-BE49-F238E27FC236}">
                  <a16:creationId xmlns:a16="http://schemas.microsoft.com/office/drawing/2014/main" id="{4F2931D0-0ECD-044F-B8D7-5EE83E53FC2A}"/>
                </a:ext>
              </a:extLst>
            </p:cNvPr>
            <p:cNvSpPr>
              <a:spLocks noEditPoints="1"/>
            </p:cNvSpPr>
            <p:nvPr/>
          </p:nvSpPr>
          <p:spPr bwMode="auto">
            <a:xfrm>
              <a:off x="1643" y="3157"/>
              <a:ext cx="262" cy="392"/>
            </a:xfrm>
            <a:custGeom>
              <a:avLst/>
              <a:gdLst>
                <a:gd name="T0" fmla="*/ 88 w 177"/>
                <a:gd name="T1" fmla="*/ 265 h 265"/>
                <a:gd name="T2" fmla="*/ 88 w 177"/>
                <a:gd name="T3" fmla="*/ 265 h 265"/>
                <a:gd name="T4" fmla="*/ 83 w 177"/>
                <a:gd name="T5" fmla="*/ 262 h 265"/>
                <a:gd name="T6" fmla="*/ 0 w 177"/>
                <a:gd name="T7" fmla="*/ 89 h 265"/>
                <a:gd name="T8" fmla="*/ 88 w 177"/>
                <a:gd name="T9" fmla="*/ 0 h 265"/>
                <a:gd name="T10" fmla="*/ 177 w 177"/>
                <a:gd name="T11" fmla="*/ 89 h 265"/>
                <a:gd name="T12" fmla="*/ 93 w 177"/>
                <a:gd name="T13" fmla="*/ 262 h 265"/>
                <a:gd name="T14" fmla="*/ 88 w 177"/>
                <a:gd name="T15" fmla="*/ 265 h 265"/>
                <a:gd name="T16" fmla="*/ 88 w 177"/>
                <a:gd name="T17" fmla="*/ 12 h 265"/>
                <a:gd name="T18" fmla="*/ 12 w 177"/>
                <a:gd name="T19" fmla="*/ 89 h 265"/>
                <a:gd name="T20" fmla="*/ 88 w 177"/>
                <a:gd name="T21" fmla="*/ 248 h 265"/>
                <a:gd name="T22" fmla="*/ 165 w 177"/>
                <a:gd name="T23" fmla="*/ 89 h 265"/>
                <a:gd name="T24" fmla="*/ 88 w 177"/>
                <a:gd name="T25" fmla="*/ 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265">
                  <a:moveTo>
                    <a:pt x="88" y="265"/>
                  </a:moveTo>
                  <a:cubicBezTo>
                    <a:pt x="88" y="265"/>
                    <a:pt x="88" y="265"/>
                    <a:pt x="88" y="265"/>
                  </a:cubicBezTo>
                  <a:cubicBezTo>
                    <a:pt x="86" y="265"/>
                    <a:pt x="84" y="264"/>
                    <a:pt x="83" y="262"/>
                  </a:cubicBezTo>
                  <a:cubicBezTo>
                    <a:pt x="80" y="257"/>
                    <a:pt x="0" y="135"/>
                    <a:pt x="0" y="89"/>
                  </a:cubicBezTo>
                  <a:cubicBezTo>
                    <a:pt x="0" y="40"/>
                    <a:pt x="40" y="0"/>
                    <a:pt x="88" y="0"/>
                  </a:cubicBezTo>
                  <a:cubicBezTo>
                    <a:pt x="137" y="0"/>
                    <a:pt x="177" y="40"/>
                    <a:pt x="177" y="89"/>
                  </a:cubicBezTo>
                  <a:cubicBezTo>
                    <a:pt x="177" y="135"/>
                    <a:pt x="97" y="257"/>
                    <a:pt x="93" y="262"/>
                  </a:cubicBezTo>
                  <a:cubicBezTo>
                    <a:pt x="92" y="264"/>
                    <a:pt x="90" y="265"/>
                    <a:pt x="88" y="265"/>
                  </a:cubicBezTo>
                  <a:close/>
                  <a:moveTo>
                    <a:pt x="88" y="12"/>
                  </a:moveTo>
                  <a:cubicBezTo>
                    <a:pt x="46" y="12"/>
                    <a:pt x="12" y="47"/>
                    <a:pt x="12" y="89"/>
                  </a:cubicBezTo>
                  <a:cubicBezTo>
                    <a:pt x="12" y="126"/>
                    <a:pt x="71" y="220"/>
                    <a:pt x="88" y="248"/>
                  </a:cubicBezTo>
                  <a:cubicBezTo>
                    <a:pt x="106" y="220"/>
                    <a:pt x="165" y="126"/>
                    <a:pt x="165" y="89"/>
                  </a:cubicBezTo>
                  <a:cubicBezTo>
                    <a:pt x="165" y="47"/>
                    <a:pt x="130" y="12"/>
                    <a:pt x="8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5" name="Freeform 143">
              <a:extLst>
                <a:ext uri="{FF2B5EF4-FFF2-40B4-BE49-F238E27FC236}">
                  <a16:creationId xmlns:a16="http://schemas.microsoft.com/office/drawing/2014/main" id="{2A0F5EEC-4050-F048-8AF4-786AD6520BE2}"/>
                </a:ext>
              </a:extLst>
            </p:cNvPr>
            <p:cNvSpPr>
              <a:spLocks noEditPoints="1"/>
            </p:cNvSpPr>
            <p:nvPr/>
          </p:nvSpPr>
          <p:spPr bwMode="auto">
            <a:xfrm>
              <a:off x="1560" y="3499"/>
              <a:ext cx="426" cy="84"/>
            </a:xfrm>
            <a:custGeom>
              <a:avLst/>
              <a:gdLst>
                <a:gd name="T0" fmla="*/ 144 w 288"/>
                <a:gd name="T1" fmla="*/ 57 h 57"/>
                <a:gd name="T2" fmla="*/ 0 w 288"/>
                <a:gd name="T3" fmla="*/ 27 h 57"/>
                <a:gd name="T4" fmla="*/ 83 w 288"/>
                <a:gd name="T5" fmla="*/ 0 h 57"/>
                <a:gd name="T6" fmla="*/ 90 w 288"/>
                <a:gd name="T7" fmla="*/ 5 h 57"/>
                <a:gd name="T8" fmla="*/ 84 w 288"/>
                <a:gd name="T9" fmla="*/ 12 h 57"/>
                <a:gd name="T10" fmla="*/ 13 w 288"/>
                <a:gd name="T11" fmla="*/ 27 h 57"/>
                <a:gd name="T12" fmla="*/ 144 w 288"/>
                <a:gd name="T13" fmla="*/ 45 h 57"/>
                <a:gd name="T14" fmla="*/ 276 w 288"/>
                <a:gd name="T15" fmla="*/ 27 h 57"/>
                <a:gd name="T16" fmla="*/ 204 w 288"/>
                <a:gd name="T17" fmla="*/ 12 h 57"/>
                <a:gd name="T18" fmla="*/ 198 w 288"/>
                <a:gd name="T19" fmla="*/ 5 h 57"/>
                <a:gd name="T20" fmla="*/ 205 w 288"/>
                <a:gd name="T21" fmla="*/ 0 h 57"/>
                <a:gd name="T22" fmla="*/ 288 w 288"/>
                <a:gd name="T23" fmla="*/ 27 h 57"/>
                <a:gd name="T24" fmla="*/ 144 w 288"/>
                <a:gd name="T25" fmla="*/ 57 h 57"/>
                <a:gd name="T26" fmla="*/ 276 w 288"/>
                <a:gd name="T27" fmla="*/ 28 h 57"/>
                <a:gd name="T28" fmla="*/ 276 w 288"/>
                <a:gd name="T29"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57">
                  <a:moveTo>
                    <a:pt x="144" y="57"/>
                  </a:moveTo>
                  <a:cubicBezTo>
                    <a:pt x="130" y="57"/>
                    <a:pt x="0" y="57"/>
                    <a:pt x="0" y="27"/>
                  </a:cubicBezTo>
                  <a:cubicBezTo>
                    <a:pt x="0" y="14"/>
                    <a:pt x="28" y="5"/>
                    <a:pt x="83" y="0"/>
                  </a:cubicBezTo>
                  <a:cubicBezTo>
                    <a:pt x="87" y="0"/>
                    <a:pt x="89" y="2"/>
                    <a:pt x="90" y="5"/>
                  </a:cubicBezTo>
                  <a:cubicBezTo>
                    <a:pt x="90" y="9"/>
                    <a:pt x="88" y="12"/>
                    <a:pt x="84" y="12"/>
                  </a:cubicBezTo>
                  <a:cubicBezTo>
                    <a:pt x="33" y="16"/>
                    <a:pt x="16" y="24"/>
                    <a:pt x="13" y="27"/>
                  </a:cubicBezTo>
                  <a:cubicBezTo>
                    <a:pt x="18" y="34"/>
                    <a:pt x="65" y="45"/>
                    <a:pt x="144" y="45"/>
                  </a:cubicBezTo>
                  <a:cubicBezTo>
                    <a:pt x="223" y="45"/>
                    <a:pt x="270" y="34"/>
                    <a:pt x="276" y="27"/>
                  </a:cubicBezTo>
                  <a:cubicBezTo>
                    <a:pt x="273" y="24"/>
                    <a:pt x="255" y="16"/>
                    <a:pt x="204" y="12"/>
                  </a:cubicBezTo>
                  <a:cubicBezTo>
                    <a:pt x="200" y="12"/>
                    <a:pt x="198" y="9"/>
                    <a:pt x="198" y="5"/>
                  </a:cubicBezTo>
                  <a:cubicBezTo>
                    <a:pt x="199" y="2"/>
                    <a:pt x="201" y="0"/>
                    <a:pt x="205" y="0"/>
                  </a:cubicBezTo>
                  <a:cubicBezTo>
                    <a:pt x="260" y="5"/>
                    <a:pt x="288" y="14"/>
                    <a:pt x="288" y="27"/>
                  </a:cubicBezTo>
                  <a:cubicBezTo>
                    <a:pt x="288" y="57"/>
                    <a:pt x="159" y="57"/>
                    <a:pt x="144" y="57"/>
                  </a:cubicBezTo>
                  <a:close/>
                  <a:moveTo>
                    <a:pt x="276" y="28"/>
                  </a:moveTo>
                  <a:cubicBezTo>
                    <a:pt x="276" y="28"/>
                    <a:pt x="276" y="28"/>
                    <a:pt x="27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296" name="Group 265">
            <a:extLst>
              <a:ext uri="{FF2B5EF4-FFF2-40B4-BE49-F238E27FC236}">
                <a16:creationId xmlns:a16="http://schemas.microsoft.com/office/drawing/2014/main" id="{DB574722-631E-164E-AF27-0911A2FEC321}"/>
              </a:ext>
            </a:extLst>
          </p:cNvPr>
          <p:cNvGrpSpPr>
            <a:grpSpLocks noChangeAspect="1"/>
          </p:cNvGrpSpPr>
          <p:nvPr userDrawn="1"/>
        </p:nvGrpSpPr>
        <p:grpSpPr bwMode="auto">
          <a:xfrm>
            <a:off x="9686502" y="1940477"/>
            <a:ext cx="477838" cy="478960"/>
            <a:chOff x="4480" y="2998"/>
            <a:chExt cx="426" cy="427"/>
          </a:xfrm>
          <a:solidFill>
            <a:schemeClr val="accent1"/>
          </a:solidFill>
        </p:grpSpPr>
        <p:sp>
          <p:nvSpPr>
            <p:cNvPr id="297" name="Freeform 266">
              <a:extLst>
                <a:ext uri="{FF2B5EF4-FFF2-40B4-BE49-F238E27FC236}">
                  <a16:creationId xmlns:a16="http://schemas.microsoft.com/office/drawing/2014/main" id="{B9360F8F-35A5-2948-A337-3FA5820849CE}"/>
                </a:ext>
              </a:extLst>
            </p:cNvPr>
            <p:cNvSpPr>
              <a:spLocks noEditPoints="1"/>
            </p:cNvSpPr>
            <p:nvPr/>
          </p:nvSpPr>
          <p:spPr bwMode="auto">
            <a:xfrm>
              <a:off x="4480" y="2998"/>
              <a:ext cx="426" cy="427"/>
            </a:xfrm>
            <a:custGeom>
              <a:avLst/>
              <a:gdLst>
                <a:gd name="T0" fmla="*/ 144 w 288"/>
                <a:gd name="T1" fmla="*/ 288 h 288"/>
                <a:gd name="T2" fmla="*/ 0 w 288"/>
                <a:gd name="T3" fmla="*/ 141 h 288"/>
                <a:gd name="T4" fmla="*/ 138 w 288"/>
                <a:gd name="T5" fmla="*/ 0 h 288"/>
                <a:gd name="T6" fmla="*/ 144 w 288"/>
                <a:gd name="T7" fmla="*/ 0 h 288"/>
                <a:gd name="T8" fmla="*/ 288 w 288"/>
                <a:gd name="T9" fmla="*/ 143 h 288"/>
                <a:gd name="T10" fmla="*/ 144 w 288"/>
                <a:gd name="T11" fmla="*/ 288 h 288"/>
                <a:gd name="T12" fmla="*/ 144 w 288"/>
                <a:gd name="T13" fmla="*/ 12 h 288"/>
                <a:gd name="T14" fmla="*/ 139 w 288"/>
                <a:gd name="T15" fmla="*/ 12 h 288"/>
                <a:gd name="T16" fmla="*/ 12 w 288"/>
                <a:gd name="T17" fmla="*/ 141 h 288"/>
                <a:gd name="T18" fmla="*/ 144 w 288"/>
                <a:gd name="T19" fmla="*/ 276 h 288"/>
                <a:gd name="T20" fmla="*/ 276 w 288"/>
                <a:gd name="T21" fmla="*/ 143 h 288"/>
                <a:gd name="T22" fmla="*/ 144 w 288"/>
                <a:gd name="T23"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288">
                  <a:moveTo>
                    <a:pt x="144" y="288"/>
                  </a:moveTo>
                  <a:cubicBezTo>
                    <a:pt x="65" y="288"/>
                    <a:pt x="0" y="222"/>
                    <a:pt x="0" y="141"/>
                  </a:cubicBezTo>
                  <a:cubicBezTo>
                    <a:pt x="0" y="64"/>
                    <a:pt x="60" y="3"/>
                    <a:pt x="138" y="0"/>
                  </a:cubicBezTo>
                  <a:cubicBezTo>
                    <a:pt x="140" y="0"/>
                    <a:pt x="142" y="0"/>
                    <a:pt x="144" y="0"/>
                  </a:cubicBezTo>
                  <a:cubicBezTo>
                    <a:pt x="224" y="0"/>
                    <a:pt x="288" y="64"/>
                    <a:pt x="288" y="143"/>
                  </a:cubicBezTo>
                  <a:cubicBezTo>
                    <a:pt x="288" y="223"/>
                    <a:pt x="224" y="288"/>
                    <a:pt x="144" y="288"/>
                  </a:cubicBezTo>
                  <a:close/>
                  <a:moveTo>
                    <a:pt x="144" y="12"/>
                  </a:moveTo>
                  <a:cubicBezTo>
                    <a:pt x="143" y="12"/>
                    <a:pt x="141" y="12"/>
                    <a:pt x="139" y="12"/>
                  </a:cubicBezTo>
                  <a:cubicBezTo>
                    <a:pt x="67" y="15"/>
                    <a:pt x="12" y="70"/>
                    <a:pt x="12" y="141"/>
                  </a:cubicBezTo>
                  <a:cubicBezTo>
                    <a:pt x="12" y="215"/>
                    <a:pt x="71" y="276"/>
                    <a:pt x="144" y="276"/>
                  </a:cubicBezTo>
                  <a:cubicBezTo>
                    <a:pt x="217" y="276"/>
                    <a:pt x="276" y="216"/>
                    <a:pt x="276" y="143"/>
                  </a:cubicBezTo>
                  <a:cubicBezTo>
                    <a:pt x="276" y="71"/>
                    <a:pt x="217" y="12"/>
                    <a:pt x="14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8" name="Freeform 267">
              <a:extLst>
                <a:ext uri="{FF2B5EF4-FFF2-40B4-BE49-F238E27FC236}">
                  <a16:creationId xmlns:a16="http://schemas.microsoft.com/office/drawing/2014/main" id="{D12E7AA0-6D6F-1C44-A651-D3A086359C5B}"/>
                </a:ext>
              </a:extLst>
            </p:cNvPr>
            <p:cNvSpPr>
              <a:spLocks/>
            </p:cNvSpPr>
            <p:nvPr/>
          </p:nvSpPr>
          <p:spPr bwMode="auto">
            <a:xfrm>
              <a:off x="4569" y="3001"/>
              <a:ext cx="123" cy="419"/>
            </a:xfrm>
            <a:custGeom>
              <a:avLst/>
              <a:gdLst>
                <a:gd name="T0" fmla="*/ 74 w 83"/>
                <a:gd name="T1" fmla="*/ 283 h 283"/>
                <a:gd name="T2" fmla="*/ 74 w 83"/>
                <a:gd name="T3" fmla="*/ 0 h 283"/>
                <a:gd name="T4" fmla="*/ 83 w 83"/>
                <a:gd name="T5" fmla="*/ 8 h 283"/>
                <a:gd name="T6" fmla="*/ 83 w 83"/>
                <a:gd name="T7" fmla="*/ 276 h 283"/>
                <a:gd name="T8" fmla="*/ 74 w 83"/>
                <a:gd name="T9" fmla="*/ 283 h 283"/>
              </a:gdLst>
              <a:ahLst/>
              <a:cxnLst>
                <a:cxn ang="0">
                  <a:pos x="T0" y="T1"/>
                </a:cxn>
                <a:cxn ang="0">
                  <a:pos x="T2" y="T3"/>
                </a:cxn>
                <a:cxn ang="0">
                  <a:pos x="T4" y="T5"/>
                </a:cxn>
                <a:cxn ang="0">
                  <a:pos x="T6" y="T7"/>
                </a:cxn>
                <a:cxn ang="0">
                  <a:pos x="T8" y="T9"/>
                </a:cxn>
              </a:cxnLst>
              <a:rect l="0" t="0" r="r" b="b"/>
              <a:pathLst>
                <a:path w="83" h="283">
                  <a:moveTo>
                    <a:pt x="74" y="283"/>
                  </a:moveTo>
                  <a:cubicBezTo>
                    <a:pt x="0" y="186"/>
                    <a:pt x="1" y="80"/>
                    <a:pt x="74" y="0"/>
                  </a:cubicBezTo>
                  <a:cubicBezTo>
                    <a:pt x="83" y="8"/>
                    <a:pt x="83" y="8"/>
                    <a:pt x="83" y="8"/>
                  </a:cubicBezTo>
                  <a:cubicBezTo>
                    <a:pt x="13" y="84"/>
                    <a:pt x="13" y="182"/>
                    <a:pt x="83" y="276"/>
                  </a:cubicBezTo>
                  <a:lnTo>
                    <a:pt x="7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299" name="Freeform 268">
              <a:extLst>
                <a:ext uri="{FF2B5EF4-FFF2-40B4-BE49-F238E27FC236}">
                  <a16:creationId xmlns:a16="http://schemas.microsoft.com/office/drawing/2014/main" id="{106A933E-5559-2E41-A345-731A2E0F8E12}"/>
                </a:ext>
              </a:extLst>
            </p:cNvPr>
            <p:cNvSpPr>
              <a:spLocks/>
            </p:cNvSpPr>
            <p:nvPr/>
          </p:nvSpPr>
          <p:spPr bwMode="auto">
            <a:xfrm>
              <a:off x="4696" y="3001"/>
              <a:ext cx="123" cy="419"/>
            </a:xfrm>
            <a:custGeom>
              <a:avLst/>
              <a:gdLst>
                <a:gd name="T0" fmla="*/ 9 w 83"/>
                <a:gd name="T1" fmla="*/ 283 h 283"/>
                <a:gd name="T2" fmla="*/ 0 w 83"/>
                <a:gd name="T3" fmla="*/ 276 h 283"/>
                <a:gd name="T4" fmla="*/ 0 w 83"/>
                <a:gd name="T5" fmla="*/ 8 h 283"/>
                <a:gd name="T6" fmla="*/ 9 w 83"/>
                <a:gd name="T7" fmla="*/ 0 h 283"/>
                <a:gd name="T8" fmla="*/ 9 w 83"/>
                <a:gd name="T9" fmla="*/ 283 h 283"/>
              </a:gdLst>
              <a:ahLst/>
              <a:cxnLst>
                <a:cxn ang="0">
                  <a:pos x="T0" y="T1"/>
                </a:cxn>
                <a:cxn ang="0">
                  <a:pos x="T2" y="T3"/>
                </a:cxn>
                <a:cxn ang="0">
                  <a:pos x="T4" y="T5"/>
                </a:cxn>
                <a:cxn ang="0">
                  <a:pos x="T6" y="T7"/>
                </a:cxn>
                <a:cxn ang="0">
                  <a:pos x="T8" y="T9"/>
                </a:cxn>
              </a:cxnLst>
              <a:rect l="0" t="0" r="r" b="b"/>
              <a:pathLst>
                <a:path w="83" h="283">
                  <a:moveTo>
                    <a:pt x="9" y="283"/>
                  </a:moveTo>
                  <a:cubicBezTo>
                    <a:pt x="0" y="276"/>
                    <a:pt x="0" y="276"/>
                    <a:pt x="0" y="276"/>
                  </a:cubicBezTo>
                  <a:cubicBezTo>
                    <a:pt x="70" y="182"/>
                    <a:pt x="70" y="84"/>
                    <a:pt x="0" y="8"/>
                  </a:cubicBezTo>
                  <a:cubicBezTo>
                    <a:pt x="9" y="0"/>
                    <a:pt x="9" y="0"/>
                    <a:pt x="9" y="0"/>
                  </a:cubicBezTo>
                  <a:cubicBezTo>
                    <a:pt x="82" y="80"/>
                    <a:pt x="83" y="186"/>
                    <a:pt x="9" y="2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0" name="Rectangle 269">
              <a:extLst>
                <a:ext uri="{FF2B5EF4-FFF2-40B4-BE49-F238E27FC236}">
                  <a16:creationId xmlns:a16="http://schemas.microsoft.com/office/drawing/2014/main" id="{9C2B5A47-940D-EA48-BAA9-4D26EB1A3E33}"/>
                </a:ext>
              </a:extLst>
            </p:cNvPr>
            <p:cNvSpPr>
              <a:spLocks noChangeArrowheads="1"/>
            </p:cNvSpPr>
            <p:nvPr/>
          </p:nvSpPr>
          <p:spPr bwMode="auto">
            <a:xfrm>
              <a:off x="4516" y="3300"/>
              <a:ext cx="3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1" name="Rectangle 270">
              <a:extLst>
                <a:ext uri="{FF2B5EF4-FFF2-40B4-BE49-F238E27FC236}">
                  <a16:creationId xmlns:a16="http://schemas.microsoft.com/office/drawing/2014/main" id="{C426CD1A-3E99-F54E-9271-6DE70CA75D4B}"/>
                </a:ext>
              </a:extLst>
            </p:cNvPr>
            <p:cNvSpPr>
              <a:spLocks noChangeArrowheads="1"/>
            </p:cNvSpPr>
            <p:nvPr/>
          </p:nvSpPr>
          <p:spPr bwMode="auto">
            <a:xfrm>
              <a:off x="4523" y="3087"/>
              <a:ext cx="339"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02" name="Rectangle 271">
              <a:extLst>
                <a:ext uri="{FF2B5EF4-FFF2-40B4-BE49-F238E27FC236}">
                  <a16:creationId xmlns:a16="http://schemas.microsoft.com/office/drawing/2014/main" id="{B3811124-B17C-D94B-8AD1-A4CCDE5EA500}"/>
                </a:ext>
              </a:extLst>
            </p:cNvPr>
            <p:cNvSpPr>
              <a:spLocks noChangeArrowheads="1"/>
            </p:cNvSpPr>
            <p:nvPr/>
          </p:nvSpPr>
          <p:spPr bwMode="auto">
            <a:xfrm>
              <a:off x="4489" y="3194"/>
              <a:ext cx="408"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03" name="Group 92">
            <a:extLst>
              <a:ext uri="{FF2B5EF4-FFF2-40B4-BE49-F238E27FC236}">
                <a16:creationId xmlns:a16="http://schemas.microsoft.com/office/drawing/2014/main" id="{31B23D09-8735-2E48-9CB2-8770D647F10C}"/>
              </a:ext>
            </a:extLst>
          </p:cNvPr>
          <p:cNvGrpSpPr>
            <a:grpSpLocks noChangeAspect="1"/>
          </p:cNvGrpSpPr>
          <p:nvPr userDrawn="1"/>
        </p:nvGrpSpPr>
        <p:grpSpPr bwMode="auto">
          <a:xfrm>
            <a:off x="4560155" y="5528336"/>
            <a:ext cx="578644" cy="412766"/>
            <a:chOff x="341" y="1769"/>
            <a:chExt cx="450" cy="321"/>
          </a:xfrm>
          <a:solidFill>
            <a:schemeClr val="accent1"/>
          </a:solidFill>
        </p:grpSpPr>
        <p:sp>
          <p:nvSpPr>
            <p:cNvPr id="304" name="Freeform 93">
              <a:extLst>
                <a:ext uri="{FF2B5EF4-FFF2-40B4-BE49-F238E27FC236}">
                  <a16:creationId xmlns:a16="http://schemas.microsoft.com/office/drawing/2014/main" id="{D6BFE993-EF88-464D-8FCD-289EC0330F6D}"/>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5" name="Freeform 94">
              <a:extLst>
                <a:ext uri="{FF2B5EF4-FFF2-40B4-BE49-F238E27FC236}">
                  <a16:creationId xmlns:a16="http://schemas.microsoft.com/office/drawing/2014/main" id="{37409101-31C8-E04F-8744-C456BF4053A3}"/>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6" name="Freeform 95">
              <a:extLst>
                <a:ext uri="{FF2B5EF4-FFF2-40B4-BE49-F238E27FC236}">
                  <a16:creationId xmlns:a16="http://schemas.microsoft.com/office/drawing/2014/main" id="{844F5876-66F7-7740-8476-CDBA4D0E8A4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7" name="Freeform 96">
              <a:extLst>
                <a:ext uri="{FF2B5EF4-FFF2-40B4-BE49-F238E27FC236}">
                  <a16:creationId xmlns:a16="http://schemas.microsoft.com/office/drawing/2014/main" id="{A289E8F4-C028-6148-B109-3D339897DCB7}"/>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8" name="Freeform 97">
              <a:extLst>
                <a:ext uri="{FF2B5EF4-FFF2-40B4-BE49-F238E27FC236}">
                  <a16:creationId xmlns:a16="http://schemas.microsoft.com/office/drawing/2014/main" id="{30B1422A-1FC0-E644-86CF-3A9C1C0E700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9" name="Oval 98">
              <a:extLst>
                <a:ext uri="{FF2B5EF4-FFF2-40B4-BE49-F238E27FC236}">
                  <a16:creationId xmlns:a16="http://schemas.microsoft.com/office/drawing/2014/main" id="{A4B792FB-71CE-1145-960B-B90FBEB0B650}"/>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0" name="Oval 99">
              <a:extLst>
                <a:ext uri="{FF2B5EF4-FFF2-40B4-BE49-F238E27FC236}">
                  <a16:creationId xmlns:a16="http://schemas.microsoft.com/office/drawing/2014/main" id="{5EF5F9D8-CCE3-2343-807F-0CF85E03EAF0}"/>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11" name="Oval 100">
              <a:extLst>
                <a:ext uri="{FF2B5EF4-FFF2-40B4-BE49-F238E27FC236}">
                  <a16:creationId xmlns:a16="http://schemas.microsoft.com/office/drawing/2014/main" id="{3D380F82-1897-C145-8D61-C6B842E53DF3}"/>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2" name="Group 4">
            <a:extLst>
              <a:ext uri="{FF2B5EF4-FFF2-40B4-BE49-F238E27FC236}">
                <a16:creationId xmlns:a16="http://schemas.microsoft.com/office/drawing/2014/main" id="{84C17A15-152C-A348-853A-B692B4282DA1}"/>
              </a:ext>
            </a:extLst>
          </p:cNvPr>
          <p:cNvGrpSpPr>
            <a:grpSpLocks noChangeAspect="1"/>
          </p:cNvGrpSpPr>
          <p:nvPr userDrawn="1"/>
        </p:nvGrpSpPr>
        <p:grpSpPr bwMode="auto">
          <a:xfrm>
            <a:off x="5877270" y="5532782"/>
            <a:ext cx="484650" cy="403874"/>
            <a:chOff x="348" y="472"/>
            <a:chExt cx="426" cy="355"/>
          </a:xfrm>
          <a:solidFill>
            <a:schemeClr val="accent1"/>
          </a:solidFill>
        </p:grpSpPr>
        <p:sp>
          <p:nvSpPr>
            <p:cNvPr id="313" name="Freeform 5">
              <a:extLst>
                <a:ext uri="{FF2B5EF4-FFF2-40B4-BE49-F238E27FC236}">
                  <a16:creationId xmlns:a16="http://schemas.microsoft.com/office/drawing/2014/main" id="{719C8B8C-D094-D74C-AF4C-E723A3C19C5E}"/>
                </a:ext>
              </a:extLst>
            </p:cNvPr>
            <p:cNvSpPr>
              <a:spLocks/>
            </p:cNvSpPr>
            <p:nvPr/>
          </p:nvSpPr>
          <p:spPr bwMode="auto">
            <a:xfrm>
              <a:off x="348" y="543"/>
              <a:ext cx="373" cy="18"/>
            </a:xfrm>
            <a:custGeom>
              <a:avLst/>
              <a:gdLst>
                <a:gd name="T0" fmla="*/ 246 w 252"/>
                <a:gd name="T1" fmla="*/ 12 h 12"/>
                <a:gd name="T2" fmla="*/ 6 w 252"/>
                <a:gd name="T3" fmla="*/ 12 h 12"/>
                <a:gd name="T4" fmla="*/ 0 w 252"/>
                <a:gd name="T5" fmla="*/ 6 h 12"/>
                <a:gd name="T6" fmla="*/ 6 w 252"/>
                <a:gd name="T7" fmla="*/ 0 h 12"/>
                <a:gd name="T8" fmla="*/ 246 w 252"/>
                <a:gd name="T9" fmla="*/ 0 h 12"/>
                <a:gd name="T10" fmla="*/ 252 w 252"/>
                <a:gd name="T11" fmla="*/ 6 h 12"/>
                <a:gd name="T12" fmla="*/ 246 w 25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2" h="12">
                  <a:moveTo>
                    <a:pt x="246" y="12"/>
                  </a:moveTo>
                  <a:cubicBezTo>
                    <a:pt x="6" y="12"/>
                    <a:pt x="6" y="12"/>
                    <a:pt x="6" y="12"/>
                  </a:cubicBezTo>
                  <a:cubicBezTo>
                    <a:pt x="3" y="12"/>
                    <a:pt x="0" y="9"/>
                    <a:pt x="0" y="6"/>
                  </a:cubicBezTo>
                  <a:cubicBezTo>
                    <a:pt x="0" y="3"/>
                    <a:pt x="3" y="0"/>
                    <a:pt x="6" y="0"/>
                  </a:cubicBezTo>
                  <a:cubicBezTo>
                    <a:pt x="246" y="0"/>
                    <a:pt x="246" y="0"/>
                    <a:pt x="246" y="0"/>
                  </a:cubicBezTo>
                  <a:cubicBezTo>
                    <a:pt x="250" y="0"/>
                    <a:pt x="252" y="3"/>
                    <a:pt x="252" y="6"/>
                  </a:cubicBezTo>
                  <a:cubicBezTo>
                    <a:pt x="252" y="9"/>
                    <a:pt x="250" y="12"/>
                    <a:pt x="24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4" name="Oval 6">
              <a:extLst>
                <a:ext uri="{FF2B5EF4-FFF2-40B4-BE49-F238E27FC236}">
                  <a16:creationId xmlns:a16="http://schemas.microsoft.com/office/drawing/2014/main" id="{0E3079FA-EBC0-1C4F-BF6F-4EF1A488E97C}"/>
                </a:ext>
              </a:extLst>
            </p:cNvPr>
            <p:cNvSpPr>
              <a:spLocks noChangeArrowheads="1"/>
            </p:cNvSpPr>
            <p:nvPr/>
          </p:nvSpPr>
          <p:spPr bwMode="auto">
            <a:xfrm>
              <a:off x="401"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5" name="Oval 7">
              <a:extLst>
                <a:ext uri="{FF2B5EF4-FFF2-40B4-BE49-F238E27FC236}">
                  <a16:creationId xmlns:a16="http://schemas.microsoft.com/office/drawing/2014/main" id="{1020AE0A-3CB9-274A-B949-2F4B93C8FE61}"/>
                </a:ext>
              </a:extLst>
            </p:cNvPr>
            <p:cNvSpPr>
              <a:spLocks noChangeArrowheads="1"/>
            </p:cNvSpPr>
            <p:nvPr/>
          </p:nvSpPr>
          <p:spPr bwMode="auto">
            <a:xfrm>
              <a:off x="437" y="507"/>
              <a:ext cx="17"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6" name="Oval 8">
              <a:extLst>
                <a:ext uri="{FF2B5EF4-FFF2-40B4-BE49-F238E27FC236}">
                  <a16:creationId xmlns:a16="http://schemas.microsoft.com/office/drawing/2014/main" id="{98F34F8F-ABB7-4848-A76F-9F6C562D9670}"/>
                </a:ext>
              </a:extLst>
            </p:cNvPr>
            <p:cNvSpPr>
              <a:spLocks noChangeArrowheads="1"/>
            </p:cNvSpPr>
            <p:nvPr/>
          </p:nvSpPr>
          <p:spPr bwMode="auto">
            <a:xfrm>
              <a:off x="472" y="507"/>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7" name="Freeform 9">
              <a:extLst>
                <a:ext uri="{FF2B5EF4-FFF2-40B4-BE49-F238E27FC236}">
                  <a16:creationId xmlns:a16="http://schemas.microsoft.com/office/drawing/2014/main" id="{AA090CA5-2F52-AF46-BB3E-337567489E55}"/>
                </a:ext>
              </a:extLst>
            </p:cNvPr>
            <p:cNvSpPr>
              <a:spLocks noEditPoints="1"/>
            </p:cNvSpPr>
            <p:nvPr/>
          </p:nvSpPr>
          <p:spPr bwMode="auto">
            <a:xfrm>
              <a:off x="348" y="472"/>
              <a:ext cx="373" cy="284"/>
            </a:xfrm>
            <a:custGeom>
              <a:avLst/>
              <a:gdLst>
                <a:gd name="T0" fmla="*/ 222 w 252"/>
                <a:gd name="T1" fmla="*/ 192 h 192"/>
                <a:gd name="T2" fmla="*/ 30 w 252"/>
                <a:gd name="T3" fmla="*/ 192 h 192"/>
                <a:gd name="T4" fmla="*/ 0 w 252"/>
                <a:gd name="T5" fmla="*/ 162 h 192"/>
                <a:gd name="T6" fmla="*/ 0 w 252"/>
                <a:gd name="T7" fmla="*/ 30 h 192"/>
                <a:gd name="T8" fmla="*/ 30 w 252"/>
                <a:gd name="T9" fmla="*/ 0 h 192"/>
                <a:gd name="T10" fmla="*/ 222 w 252"/>
                <a:gd name="T11" fmla="*/ 0 h 192"/>
                <a:gd name="T12" fmla="*/ 252 w 252"/>
                <a:gd name="T13" fmla="*/ 30 h 192"/>
                <a:gd name="T14" fmla="*/ 252 w 252"/>
                <a:gd name="T15" fmla="*/ 162 h 192"/>
                <a:gd name="T16" fmla="*/ 222 w 252"/>
                <a:gd name="T17" fmla="*/ 192 h 192"/>
                <a:gd name="T18" fmla="*/ 30 w 252"/>
                <a:gd name="T19" fmla="*/ 12 h 192"/>
                <a:gd name="T20" fmla="*/ 12 w 252"/>
                <a:gd name="T21" fmla="*/ 30 h 192"/>
                <a:gd name="T22" fmla="*/ 12 w 252"/>
                <a:gd name="T23" fmla="*/ 162 h 192"/>
                <a:gd name="T24" fmla="*/ 30 w 252"/>
                <a:gd name="T25" fmla="*/ 180 h 192"/>
                <a:gd name="T26" fmla="*/ 222 w 252"/>
                <a:gd name="T27" fmla="*/ 180 h 192"/>
                <a:gd name="T28" fmla="*/ 240 w 252"/>
                <a:gd name="T29" fmla="*/ 162 h 192"/>
                <a:gd name="T30" fmla="*/ 240 w 252"/>
                <a:gd name="T31" fmla="*/ 30 h 192"/>
                <a:gd name="T32" fmla="*/ 222 w 252"/>
                <a:gd name="T33" fmla="*/ 12 h 192"/>
                <a:gd name="T34" fmla="*/ 30 w 252"/>
                <a:gd name="T35"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192">
                  <a:moveTo>
                    <a:pt x="222" y="192"/>
                  </a:moveTo>
                  <a:cubicBezTo>
                    <a:pt x="30" y="192"/>
                    <a:pt x="30" y="192"/>
                    <a:pt x="30" y="192"/>
                  </a:cubicBezTo>
                  <a:cubicBezTo>
                    <a:pt x="14" y="192"/>
                    <a:pt x="0" y="179"/>
                    <a:pt x="0" y="162"/>
                  </a:cubicBezTo>
                  <a:cubicBezTo>
                    <a:pt x="0" y="30"/>
                    <a:pt x="0" y="30"/>
                    <a:pt x="0" y="30"/>
                  </a:cubicBezTo>
                  <a:cubicBezTo>
                    <a:pt x="0" y="13"/>
                    <a:pt x="14" y="0"/>
                    <a:pt x="30" y="0"/>
                  </a:cubicBezTo>
                  <a:cubicBezTo>
                    <a:pt x="222" y="0"/>
                    <a:pt x="222" y="0"/>
                    <a:pt x="222" y="0"/>
                  </a:cubicBezTo>
                  <a:cubicBezTo>
                    <a:pt x="239" y="0"/>
                    <a:pt x="252" y="13"/>
                    <a:pt x="252" y="30"/>
                  </a:cubicBezTo>
                  <a:cubicBezTo>
                    <a:pt x="252" y="162"/>
                    <a:pt x="252" y="162"/>
                    <a:pt x="252" y="162"/>
                  </a:cubicBezTo>
                  <a:cubicBezTo>
                    <a:pt x="252" y="179"/>
                    <a:pt x="239" y="192"/>
                    <a:pt x="222" y="192"/>
                  </a:cubicBezTo>
                  <a:close/>
                  <a:moveTo>
                    <a:pt x="30" y="12"/>
                  </a:moveTo>
                  <a:cubicBezTo>
                    <a:pt x="20" y="12"/>
                    <a:pt x="12" y="20"/>
                    <a:pt x="12" y="30"/>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8" name="Freeform 10">
              <a:extLst>
                <a:ext uri="{FF2B5EF4-FFF2-40B4-BE49-F238E27FC236}">
                  <a16:creationId xmlns:a16="http://schemas.microsoft.com/office/drawing/2014/main" id="{8894367A-92E9-164E-BC86-5B276995A8E7}"/>
                </a:ext>
              </a:extLst>
            </p:cNvPr>
            <p:cNvSpPr>
              <a:spLocks/>
            </p:cNvSpPr>
            <p:nvPr/>
          </p:nvSpPr>
          <p:spPr bwMode="auto">
            <a:xfrm>
              <a:off x="703" y="614"/>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9" name="Freeform 11">
              <a:extLst>
                <a:ext uri="{FF2B5EF4-FFF2-40B4-BE49-F238E27FC236}">
                  <a16:creationId xmlns:a16="http://schemas.microsoft.com/office/drawing/2014/main" id="{8C879DF6-8A8C-D14C-9B9C-E0EB824DC79F}"/>
                </a:ext>
              </a:extLst>
            </p:cNvPr>
            <p:cNvSpPr>
              <a:spLocks/>
            </p:cNvSpPr>
            <p:nvPr/>
          </p:nvSpPr>
          <p:spPr bwMode="auto">
            <a:xfrm>
              <a:off x="401" y="543"/>
              <a:ext cx="373" cy="284"/>
            </a:xfrm>
            <a:custGeom>
              <a:avLst/>
              <a:gdLst>
                <a:gd name="T0" fmla="*/ 222 w 252"/>
                <a:gd name="T1" fmla="*/ 192 h 192"/>
                <a:gd name="T2" fmla="*/ 30 w 252"/>
                <a:gd name="T3" fmla="*/ 192 h 192"/>
                <a:gd name="T4" fmla="*/ 0 w 252"/>
                <a:gd name="T5" fmla="*/ 162 h 192"/>
                <a:gd name="T6" fmla="*/ 0 w 252"/>
                <a:gd name="T7" fmla="*/ 138 h 192"/>
                <a:gd name="T8" fmla="*/ 6 w 252"/>
                <a:gd name="T9" fmla="*/ 132 h 192"/>
                <a:gd name="T10" fmla="*/ 12 w 252"/>
                <a:gd name="T11" fmla="*/ 138 h 192"/>
                <a:gd name="T12" fmla="*/ 12 w 252"/>
                <a:gd name="T13" fmla="*/ 162 h 192"/>
                <a:gd name="T14" fmla="*/ 30 w 252"/>
                <a:gd name="T15" fmla="*/ 180 h 192"/>
                <a:gd name="T16" fmla="*/ 222 w 252"/>
                <a:gd name="T17" fmla="*/ 180 h 192"/>
                <a:gd name="T18" fmla="*/ 240 w 252"/>
                <a:gd name="T19" fmla="*/ 162 h 192"/>
                <a:gd name="T20" fmla="*/ 240 w 252"/>
                <a:gd name="T21" fmla="*/ 30 h 192"/>
                <a:gd name="T22" fmla="*/ 222 w 252"/>
                <a:gd name="T23" fmla="*/ 12 h 192"/>
                <a:gd name="T24" fmla="*/ 210 w 252"/>
                <a:gd name="T25" fmla="*/ 12 h 192"/>
                <a:gd name="T26" fmla="*/ 204 w 252"/>
                <a:gd name="T27" fmla="*/ 6 h 192"/>
                <a:gd name="T28" fmla="*/ 210 w 252"/>
                <a:gd name="T29" fmla="*/ 0 h 192"/>
                <a:gd name="T30" fmla="*/ 222 w 252"/>
                <a:gd name="T31" fmla="*/ 0 h 192"/>
                <a:gd name="T32" fmla="*/ 252 w 252"/>
                <a:gd name="T33" fmla="*/ 30 h 192"/>
                <a:gd name="T34" fmla="*/ 252 w 252"/>
                <a:gd name="T35" fmla="*/ 162 h 192"/>
                <a:gd name="T36" fmla="*/ 222 w 252"/>
                <a:gd name="T3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192">
                  <a:moveTo>
                    <a:pt x="222" y="192"/>
                  </a:moveTo>
                  <a:cubicBezTo>
                    <a:pt x="30" y="192"/>
                    <a:pt x="30" y="192"/>
                    <a:pt x="30" y="192"/>
                  </a:cubicBezTo>
                  <a:cubicBezTo>
                    <a:pt x="14" y="192"/>
                    <a:pt x="0" y="179"/>
                    <a:pt x="0" y="162"/>
                  </a:cubicBezTo>
                  <a:cubicBezTo>
                    <a:pt x="0" y="138"/>
                    <a:pt x="0" y="138"/>
                    <a:pt x="0" y="138"/>
                  </a:cubicBezTo>
                  <a:cubicBezTo>
                    <a:pt x="0" y="135"/>
                    <a:pt x="3" y="132"/>
                    <a:pt x="6" y="132"/>
                  </a:cubicBezTo>
                  <a:cubicBezTo>
                    <a:pt x="10" y="132"/>
                    <a:pt x="12" y="135"/>
                    <a:pt x="12" y="138"/>
                  </a:cubicBezTo>
                  <a:cubicBezTo>
                    <a:pt x="12" y="162"/>
                    <a:pt x="12" y="162"/>
                    <a:pt x="12" y="162"/>
                  </a:cubicBezTo>
                  <a:cubicBezTo>
                    <a:pt x="12" y="172"/>
                    <a:pt x="20" y="180"/>
                    <a:pt x="30" y="180"/>
                  </a:cubicBezTo>
                  <a:cubicBezTo>
                    <a:pt x="222" y="180"/>
                    <a:pt x="222" y="180"/>
                    <a:pt x="222" y="180"/>
                  </a:cubicBezTo>
                  <a:cubicBezTo>
                    <a:pt x="232" y="180"/>
                    <a:pt x="240" y="172"/>
                    <a:pt x="240" y="162"/>
                  </a:cubicBezTo>
                  <a:cubicBezTo>
                    <a:pt x="240" y="30"/>
                    <a:pt x="240" y="30"/>
                    <a:pt x="240" y="30"/>
                  </a:cubicBezTo>
                  <a:cubicBezTo>
                    <a:pt x="240" y="20"/>
                    <a:pt x="232" y="12"/>
                    <a:pt x="222" y="12"/>
                  </a:cubicBezTo>
                  <a:cubicBezTo>
                    <a:pt x="210" y="12"/>
                    <a:pt x="210" y="12"/>
                    <a:pt x="210" y="12"/>
                  </a:cubicBezTo>
                  <a:cubicBezTo>
                    <a:pt x="207" y="12"/>
                    <a:pt x="204" y="9"/>
                    <a:pt x="204" y="6"/>
                  </a:cubicBezTo>
                  <a:cubicBezTo>
                    <a:pt x="204" y="3"/>
                    <a:pt x="207" y="0"/>
                    <a:pt x="210" y="0"/>
                  </a:cubicBezTo>
                  <a:cubicBezTo>
                    <a:pt x="222" y="0"/>
                    <a:pt x="222" y="0"/>
                    <a:pt x="222" y="0"/>
                  </a:cubicBezTo>
                  <a:cubicBezTo>
                    <a:pt x="239" y="0"/>
                    <a:pt x="252" y="13"/>
                    <a:pt x="252" y="30"/>
                  </a:cubicBezTo>
                  <a:cubicBezTo>
                    <a:pt x="252" y="162"/>
                    <a:pt x="252" y="162"/>
                    <a:pt x="252" y="162"/>
                  </a:cubicBezTo>
                  <a:cubicBezTo>
                    <a:pt x="252" y="179"/>
                    <a:pt x="239" y="192"/>
                    <a:pt x="222"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20" name="Freeform 132">
            <a:extLst>
              <a:ext uri="{FF2B5EF4-FFF2-40B4-BE49-F238E27FC236}">
                <a16:creationId xmlns:a16="http://schemas.microsoft.com/office/drawing/2014/main" id="{45BDCAD5-FFA8-D94A-91ED-271D762E1EF5}"/>
              </a:ext>
            </a:extLst>
          </p:cNvPr>
          <p:cNvSpPr>
            <a:spLocks noEditPoints="1"/>
          </p:cNvSpPr>
          <p:nvPr userDrawn="1"/>
        </p:nvSpPr>
        <p:spPr bwMode="auto">
          <a:xfrm>
            <a:off x="8409731" y="5515535"/>
            <a:ext cx="494523" cy="438368"/>
          </a:xfrm>
          <a:custGeom>
            <a:avLst/>
            <a:gdLst>
              <a:gd name="T0" fmla="*/ 9 w 133"/>
              <a:gd name="T1" fmla="*/ 0 h 116"/>
              <a:gd name="T2" fmla="*/ 0 w 133"/>
              <a:gd name="T3" fmla="*/ 91 h 116"/>
              <a:gd name="T4" fmla="*/ 56 w 133"/>
              <a:gd name="T5" fmla="*/ 99 h 116"/>
              <a:gd name="T6" fmla="*/ 39 w 133"/>
              <a:gd name="T7" fmla="*/ 110 h 116"/>
              <a:gd name="T8" fmla="*/ 39 w 133"/>
              <a:gd name="T9" fmla="*/ 116 h 116"/>
              <a:gd name="T10" fmla="*/ 97 w 133"/>
              <a:gd name="T11" fmla="*/ 113 h 116"/>
              <a:gd name="T12" fmla="*/ 78 w 133"/>
              <a:gd name="T13" fmla="*/ 110 h 116"/>
              <a:gd name="T14" fmla="*/ 124 w 133"/>
              <a:gd name="T15" fmla="*/ 99 h 116"/>
              <a:gd name="T16" fmla="*/ 133 w 133"/>
              <a:gd name="T17" fmla="*/ 8 h 116"/>
              <a:gd name="T18" fmla="*/ 72 w 133"/>
              <a:gd name="T19" fmla="*/ 110 h 116"/>
              <a:gd name="T20" fmla="*/ 61 w 133"/>
              <a:gd name="T21" fmla="*/ 99 h 116"/>
              <a:gd name="T22" fmla="*/ 72 w 133"/>
              <a:gd name="T23" fmla="*/ 110 h 116"/>
              <a:gd name="T24" fmla="*/ 124 w 133"/>
              <a:gd name="T25" fmla="*/ 94 h 116"/>
              <a:gd name="T26" fmla="*/ 6 w 133"/>
              <a:gd name="T27" fmla="*/ 91 h 116"/>
              <a:gd name="T28" fmla="*/ 9 w 133"/>
              <a:gd name="T29" fmla="*/ 5 h 116"/>
              <a:gd name="T30" fmla="*/ 127 w 133"/>
              <a:gd name="T31" fmla="*/ 8 h 116"/>
              <a:gd name="T32" fmla="*/ 109 w 133"/>
              <a:gd name="T33" fmla="*/ 36 h 116"/>
              <a:gd name="T34" fmla="*/ 68 w 133"/>
              <a:gd name="T35" fmla="*/ 19 h 116"/>
              <a:gd name="T36" fmla="*/ 30 w 133"/>
              <a:gd name="T37" fmla="*/ 36 h 116"/>
              <a:gd name="T38" fmla="*/ 30 w 133"/>
              <a:gd name="T39" fmla="*/ 36 h 116"/>
              <a:gd name="T40" fmla="*/ 28 w 133"/>
              <a:gd name="T41" fmla="*/ 37 h 116"/>
              <a:gd name="T42" fmla="*/ 28 w 133"/>
              <a:gd name="T43" fmla="*/ 57 h 116"/>
              <a:gd name="T44" fmla="*/ 23 w 133"/>
              <a:gd name="T45" fmla="*/ 76 h 116"/>
              <a:gd name="T46" fmla="*/ 36 w 133"/>
              <a:gd name="T47" fmla="*/ 77 h 116"/>
              <a:gd name="T48" fmla="*/ 39 w 133"/>
              <a:gd name="T49" fmla="*/ 73 h 116"/>
              <a:gd name="T50" fmla="*/ 34 w 133"/>
              <a:gd name="T51" fmla="*/ 43 h 116"/>
              <a:gd name="T52" fmla="*/ 45 w 133"/>
              <a:gd name="T53" fmla="*/ 66 h 116"/>
              <a:gd name="T54" fmla="*/ 68 w 133"/>
              <a:gd name="T55" fmla="*/ 79 h 116"/>
              <a:gd name="T56" fmla="*/ 71 w 133"/>
              <a:gd name="T57" fmla="*/ 79 h 116"/>
              <a:gd name="T58" fmla="*/ 94 w 133"/>
              <a:gd name="T59" fmla="*/ 66 h 116"/>
              <a:gd name="T60" fmla="*/ 109 w 133"/>
              <a:gd name="T61" fmla="*/ 41 h 116"/>
              <a:gd name="T62" fmla="*/ 109 w 133"/>
              <a:gd name="T63" fmla="*/ 36 h 116"/>
              <a:gd name="T64" fmla="*/ 31 w 133"/>
              <a:gd name="T65" fmla="*/ 66 h 116"/>
              <a:gd name="T66" fmla="*/ 29 w 133"/>
              <a:gd name="T67" fmla="*/ 71 h 116"/>
              <a:gd name="T68" fmla="*/ 69 w 133"/>
              <a:gd name="T69" fmla="*/ 74 h 116"/>
              <a:gd name="T70" fmla="*/ 50 w 133"/>
              <a:gd name="T71" fmla="*/ 50 h 116"/>
              <a:gd name="T72" fmla="*/ 69 w 133"/>
              <a:gd name="T73" fmla="*/ 58 h 116"/>
              <a:gd name="T74" fmla="*/ 89 w 133"/>
              <a:gd name="T75" fmla="*/ 50 h 116"/>
              <a:gd name="T76" fmla="*/ 69 w 133"/>
              <a:gd name="T77" fmla="*/ 52 h 116"/>
              <a:gd name="T78" fmla="*/ 69 w 133"/>
              <a:gd name="T79" fmla="*/ 25 h 116"/>
              <a:gd name="T80" fmla="*/ 69 w 133"/>
              <a:gd name="T81"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16">
                <a:moveTo>
                  <a:pt x="124" y="0"/>
                </a:moveTo>
                <a:cubicBezTo>
                  <a:pt x="9" y="0"/>
                  <a:pt x="9" y="0"/>
                  <a:pt x="9" y="0"/>
                </a:cubicBezTo>
                <a:cubicBezTo>
                  <a:pt x="4" y="0"/>
                  <a:pt x="0" y="4"/>
                  <a:pt x="0" y="8"/>
                </a:cubicBezTo>
                <a:cubicBezTo>
                  <a:pt x="0" y="91"/>
                  <a:pt x="0" y="91"/>
                  <a:pt x="0" y="91"/>
                </a:cubicBezTo>
                <a:cubicBezTo>
                  <a:pt x="0" y="95"/>
                  <a:pt x="4" y="99"/>
                  <a:pt x="9" y="99"/>
                </a:cubicBezTo>
                <a:cubicBezTo>
                  <a:pt x="56" y="99"/>
                  <a:pt x="56" y="99"/>
                  <a:pt x="56" y="99"/>
                </a:cubicBezTo>
                <a:cubicBezTo>
                  <a:pt x="56" y="110"/>
                  <a:pt x="56" y="110"/>
                  <a:pt x="56" y="110"/>
                </a:cubicBezTo>
                <a:cubicBezTo>
                  <a:pt x="39" y="110"/>
                  <a:pt x="39" y="110"/>
                  <a:pt x="39" y="110"/>
                </a:cubicBezTo>
                <a:cubicBezTo>
                  <a:pt x="37" y="110"/>
                  <a:pt x="36" y="111"/>
                  <a:pt x="36" y="113"/>
                </a:cubicBezTo>
                <a:cubicBezTo>
                  <a:pt x="36" y="114"/>
                  <a:pt x="37" y="116"/>
                  <a:pt x="39" y="116"/>
                </a:cubicBezTo>
                <a:cubicBezTo>
                  <a:pt x="94" y="116"/>
                  <a:pt x="94" y="116"/>
                  <a:pt x="94" y="116"/>
                </a:cubicBezTo>
                <a:cubicBezTo>
                  <a:pt x="96" y="116"/>
                  <a:pt x="97" y="114"/>
                  <a:pt x="97" y="113"/>
                </a:cubicBezTo>
                <a:cubicBezTo>
                  <a:pt x="97" y="111"/>
                  <a:pt x="96" y="110"/>
                  <a:pt x="94" y="110"/>
                </a:cubicBezTo>
                <a:cubicBezTo>
                  <a:pt x="78" y="110"/>
                  <a:pt x="78" y="110"/>
                  <a:pt x="78" y="110"/>
                </a:cubicBezTo>
                <a:cubicBezTo>
                  <a:pt x="78" y="99"/>
                  <a:pt x="78" y="99"/>
                  <a:pt x="78" y="99"/>
                </a:cubicBezTo>
                <a:cubicBezTo>
                  <a:pt x="124" y="99"/>
                  <a:pt x="124" y="99"/>
                  <a:pt x="124" y="99"/>
                </a:cubicBezTo>
                <a:cubicBezTo>
                  <a:pt x="129" y="99"/>
                  <a:pt x="133" y="95"/>
                  <a:pt x="133" y="91"/>
                </a:cubicBezTo>
                <a:cubicBezTo>
                  <a:pt x="133" y="8"/>
                  <a:pt x="133" y="8"/>
                  <a:pt x="133" y="8"/>
                </a:cubicBezTo>
                <a:cubicBezTo>
                  <a:pt x="133" y="4"/>
                  <a:pt x="129" y="0"/>
                  <a:pt x="124" y="0"/>
                </a:cubicBezTo>
                <a:close/>
                <a:moveTo>
                  <a:pt x="72" y="110"/>
                </a:moveTo>
                <a:cubicBezTo>
                  <a:pt x="61" y="110"/>
                  <a:pt x="61" y="110"/>
                  <a:pt x="61" y="110"/>
                </a:cubicBezTo>
                <a:cubicBezTo>
                  <a:pt x="61" y="99"/>
                  <a:pt x="61" y="99"/>
                  <a:pt x="61" y="99"/>
                </a:cubicBezTo>
                <a:cubicBezTo>
                  <a:pt x="72" y="99"/>
                  <a:pt x="72" y="99"/>
                  <a:pt x="72" y="99"/>
                </a:cubicBezTo>
                <a:lnTo>
                  <a:pt x="72" y="110"/>
                </a:lnTo>
                <a:close/>
                <a:moveTo>
                  <a:pt x="127" y="91"/>
                </a:moveTo>
                <a:cubicBezTo>
                  <a:pt x="127" y="92"/>
                  <a:pt x="126" y="94"/>
                  <a:pt x="124" y="94"/>
                </a:cubicBezTo>
                <a:cubicBezTo>
                  <a:pt x="9" y="94"/>
                  <a:pt x="9" y="94"/>
                  <a:pt x="9" y="94"/>
                </a:cubicBezTo>
                <a:cubicBezTo>
                  <a:pt x="7" y="94"/>
                  <a:pt x="6" y="92"/>
                  <a:pt x="6" y="91"/>
                </a:cubicBezTo>
                <a:cubicBezTo>
                  <a:pt x="6" y="8"/>
                  <a:pt x="6" y="8"/>
                  <a:pt x="6" y="8"/>
                </a:cubicBezTo>
                <a:cubicBezTo>
                  <a:pt x="6" y="7"/>
                  <a:pt x="7" y="5"/>
                  <a:pt x="9" y="5"/>
                </a:cubicBezTo>
                <a:cubicBezTo>
                  <a:pt x="124" y="5"/>
                  <a:pt x="124" y="5"/>
                  <a:pt x="124" y="5"/>
                </a:cubicBezTo>
                <a:cubicBezTo>
                  <a:pt x="126" y="5"/>
                  <a:pt x="127" y="7"/>
                  <a:pt x="127" y="8"/>
                </a:cubicBezTo>
                <a:lnTo>
                  <a:pt x="127" y="91"/>
                </a:lnTo>
                <a:close/>
                <a:moveTo>
                  <a:pt x="109" y="36"/>
                </a:moveTo>
                <a:cubicBezTo>
                  <a:pt x="70" y="19"/>
                  <a:pt x="70" y="19"/>
                  <a:pt x="70" y="19"/>
                </a:cubicBezTo>
                <a:cubicBezTo>
                  <a:pt x="70" y="19"/>
                  <a:pt x="69" y="19"/>
                  <a:pt x="68" y="19"/>
                </a:cubicBezTo>
                <a:cubicBezTo>
                  <a:pt x="30" y="36"/>
                  <a:pt x="30" y="36"/>
                  <a:pt x="30" y="36"/>
                </a:cubicBezTo>
                <a:cubicBezTo>
                  <a:pt x="30" y="36"/>
                  <a:pt x="30" y="36"/>
                  <a:pt x="30" y="36"/>
                </a:cubicBezTo>
                <a:cubicBezTo>
                  <a:pt x="30" y="36"/>
                  <a:pt x="30" y="36"/>
                  <a:pt x="30" y="36"/>
                </a:cubicBezTo>
                <a:cubicBezTo>
                  <a:pt x="30" y="36"/>
                  <a:pt x="30" y="36"/>
                  <a:pt x="30" y="36"/>
                </a:cubicBezTo>
                <a:cubicBezTo>
                  <a:pt x="29" y="36"/>
                  <a:pt x="29" y="36"/>
                  <a:pt x="29" y="37"/>
                </a:cubicBezTo>
                <a:cubicBezTo>
                  <a:pt x="29" y="37"/>
                  <a:pt x="28" y="37"/>
                  <a:pt x="28" y="37"/>
                </a:cubicBezTo>
                <a:cubicBezTo>
                  <a:pt x="28" y="37"/>
                  <a:pt x="28" y="38"/>
                  <a:pt x="28" y="38"/>
                </a:cubicBezTo>
                <a:cubicBezTo>
                  <a:pt x="28" y="57"/>
                  <a:pt x="28" y="57"/>
                  <a:pt x="28" y="57"/>
                </a:cubicBezTo>
                <a:cubicBezTo>
                  <a:pt x="23" y="73"/>
                  <a:pt x="23" y="73"/>
                  <a:pt x="23" y="73"/>
                </a:cubicBezTo>
                <a:cubicBezTo>
                  <a:pt x="22" y="74"/>
                  <a:pt x="22" y="75"/>
                  <a:pt x="23" y="76"/>
                </a:cubicBezTo>
                <a:cubicBezTo>
                  <a:pt x="24" y="77"/>
                  <a:pt x="24" y="77"/>
                  <a:pt x="25" y="77"/>
                </a:cubicBezTo>
                <a:cubicBezTo>
                  <a:pt x="36" y="77"/>
                  <a:pt x="36" y="77"/>
                  <a:pt x="36" y="77"/>
                </a:cubicBezTo>
                <a:cubicBezTo>
                  <a:pt x="37" y="77"/>
                  <a:pt x="38" y="77"/>
                  <a:pt x="38" y="76"/>
                </a:cubicBezTo>
                <a:cubicBezTo>
                  <a:pt x="39" y="75"/>
                  <a:pt x="39" y="74"/>
                  <a:pt x="39" y="73"/>
                </a:cubicBezTo>
                <a:cubicBezTo>
                  <a:pt x="34" y="57"/>
                  <a:pt x="34" y="57"/>
                  <a:pt x="34" y="57"/>
                </a:cubicBezTo>
                <a:cubicBezTo>
                  <a:pt x="34" y="43"/>
                  <a:pt x="34" y="43"/>
                  <a:pt x="34" y="43"/>
                </a:cubicBezTo>
                <a:cubicBezTo>
                  <a:pt x="45" y="47"/>
                  <a:pt x="45" y="47"/>
                  <a:pt x="45" y="47"/>
                </a:cubicBezTo>
                <a:cubicBezTo>
                  <a:pt x="45" y="66"/>
                  <a:pt x="45" y="66"/>
                  <a:pt x="45" y="66"/>
                </a:cubicBezTo>
                <a:cubicBezTo>
                  <a:pt x="45" y="67"/>
                  <a:pt x="45" y="68"/>
                  <a:pt x="46" y="68"/>
                </a:cubicBezTo>
                <a:cubicBezTo>
                  <a:pt x="68" y="79"/>
                  <a:pt x="68" y="79"/>
                  <a:pt x="68" y="79"/>
                </a:cubicBezTo>
                <a:cubicBezTo>
                  <a:pt x="68" y="80"/>
                  <a:pt x="69" y="80"/>
                  <a:pt x="69" y="80"/>
                </a:cubicBezTo>
                <a:cubicBezTo>
                  <a:pt x="70" y="80"/>
                  <a:pt x="70" y="80"/>
                  <a:pt x="71" y="79"/>
                </a:cubicBezTo>
                <a:cubicBezTo>
                  <a:pt x="93" y="68"/>
                  <a:pt x="93" y="68"/>
                  <a:pt x="93" y="68"/>
                </a:cubicBezTo>
                <a:cubicBezTo>
                  <a:pt x="94" y="68"/>
                  <a:pt x="94" y="67"/>
                  <a:pt x="94" y="66"/>
                </a:cubicBezTo>
                <a:cubicBezTo>
                  <a:pt x="94" y="47"/>
                  <a:pt x="94" y="47"/>
                  <a:pt x="94" y="47"/>
                </a:cubicBezTo>
                <a:cubicBezTo>
                  <a:pt x="109" y="41"/>
                  <a:pt x="109" y="41"/>
                  <a:pt x="109" y="41"/>
                </a:cubicBezTo>
                <a:cubicBezTo>
                  <a:pt x="110" y="41"/>
                  <a:pt x="111" y="40"/>
                  <a:pt x="111" y="38"/>
                </a:cubicBezTo>
                <a:cubicBezTo>
                  <a:pt x="111" y="37"/>
                  <a:pt x="110" y="36"/>
                  <a:pt x="109" y="36"/>
                </a:cubicBezTo>
                <a:close/>
                <a:moveTo>
                  <a:pt x="29" y="71"/>
                </a:moveTo>
                <a:cubicBezTo>
                  <a:pt x="31" y="66"/>
                  <a:pt x="31" y="66"/>
                  <a:pt x="31" y="66"/>
                </a:cubicBezTo>
                <a:cubicBezTo>
                  <a:pt x="32" y="71"/>
                  <a:pt x="32" y="71"/>
                  <a:pt x="32" y="71"/>
                </a:cubicBezTo>
                <a:lnTo>
                  <a:pt x="29" y="71"/>
                </a:lnTo>
                <a:close/>
                <a:moveTo>
                  <a:pt x="89" y="64"/>
                </a:moveTo>
                <a:cubicBezTo>
                  <a:pt x="69" y="74"/>
                  <a:pt x="69" y="74"/>
                  <a:pt x="69" y="74"/>
                </a:cubicBezTo>
                <a:cubicBezTo>
                  <a:pt x="50" y="64"/>
                  <a:pt x="50" y="64"/>
                  <a:pt x="50" y="64"/>
                </a:cubicBezTo>
                <a:cubicBezTo>
                  <a:pt x="50" y="50"/>
                  <a:pt x="50" y="50"/>
                  <a:pt x="50" y="50"/>
                </a:cubicBezTo>
                <a:cubicBezTo>
                  <a:pt x="68" y="57"/>
                  <a:pt x="68" y="57"/>
                  <a:pt x="68" y="57"/>
                </a:cubicBezTo>
                <a:cubicBezTo>
                  <a:pt x="69" y="58"/>
                  <a:pt x="69" y="58"/>
                  <a:pt x="69" y="58"/>
                </a:cubicBezTo>
                <a:cubicBezTo>
                  <a:pt x="70" y="58"/>
                  <a:pt x="70" y="58"/>
                  <a:pt x="70" y="57"/>
                </a:cubicBezTo>
                <a:cubicBezTo>
                  <a:pt x="89" y="50"/>
                  <a:pt x="89" y="50"/>
                  <a:pt x="89" y="50"/>
                </a:cubicBezTo>
                <a:lnTo>
                  <a:pt x="89" y="64"/>
                </a:lnTo>
                <a:close/>
                <a:moveTo>
                  <a:pt x="69" y="52"/>
                </a:moveTo>
                <a:cubicBezTo>
                  <a:pt x="38" y="38"/>
                  <a:pt x="38" y="38"/>
                  <a:pt x="38" y="38"/>
                </a:cubicBezTo>
                <a:cubicBezTo>
                  <a:pt x="69" y="25"/>
                  <a:pt x="69" y="25"/>
                  <a:pt x="69" y="25"/>
                </a:cubicBezTo>
                <a:cubicBezTo>
                  <a:pt x="101" y="38"/>
                  <a:pt x="101" y="38"/>
                  <a:pt x="101" y="38"/>
                </a:cubicBezTo>
                <a:lnTo>
                  <a:pt x="69"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latin typeface="+mj-lt"/>
            </a:endParaRPr>
          </a:p>
        </p:txBody>
      </p:sp>
      <p:grpSp>
        <p:nvGrpSpPr>
          <p:cNvPr id="325" name="Group 104">
            <a:extLst>
              <a:ext uri="{FF2B5EF4-FFF2-40B4-BE49-F238E27FC236}">
                <a16:creationId xmlns:a16="http://schemas.microsoft.com/office/drawing/2014/main" id="{C933286F-FB2B-2B48-B689-90FB1B740D79}"/>
              </a:ext>
            </a:extLst>
          </p:cNvPr>
          <p:cNvGrpSpPr>
            <a:grpSpLocks noChangeAspect="1"/>
          </p:cNvGrpSpPr>
          <p:nvPr userDrawn="1"/>
        </p:nvGrpSpPr>
        <p:grpSpPr bwMode="auto">
          <a:xfrm>
            <a:off x="7207268" y="5477733"/>
            <a:ext cx="341846" cy="513972"/>
            <a:chOff x="1443" y="2997"/>
            <a:chExt cx="284" cy="427"/>
          </a:xfrm>
          <a:solidFill>
            <a:schemeClr val="accent1"/>
          </a:solidFill>
        </p:grpSpPr>
        <p:sp>
          <p:nvSpPr>
            <p:cNvPr id="326" name="Freeform 105">
              <a:extLst>
                <a:ext uri="{FF2B5EF4-FFF2-40B4-BE49-F238E27FC236}">
                  <a16:creationId xmlns:a16="http://schemas.microsoft.com/office/drawing/2014/main" id="{EBD25FD2-6E1F-C448-BE38-E904E3A2FB73}"/>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7" name="Freeform 106">
              <a:extLst>
                <a:ext uri="{FF2B5EF4-FFF2-40B4-BE49-F238E27FC236}">
                  <a16:creationId xmlns:a16="http://schemas.microsoft.com/office/drawing/2014/main" id="{BD9B7B3C-0689-BA4C-ABBF-BCE7E3B46DB5}"/>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8" name="Freeform 107">
              <a:extLst>
                <a:ext uri="{FF2B5EF4-FFF2-40B4-BE49-F238E27FC236}">
                  <a16:creationId xmlns:a16="http://schemas.microsoft.com/office/drawing/2014/main" id="{C9272C8E-5CB2-4643-AEA6-BE716984C944}"/>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29" name="Freeform 108">
              <a:extLst>
                <a:ext uri="{FF2B5EF4-FFF2-40B4-BE49-F238E27FC236}">
                  <a16:creationId xmlns:a16="http://schemas.microsoft.com/office/drawing/2014/main" id="{CA4C5504-30D4-1D40-B292-CD5DA723192D}"/>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0" name="Freeform 109">
              <a:extLst>
                <a:ext uri="{FF2B5EF4-FFF2-40B4-BE49-F238E27FC236}">
                  <a16:creationId xmlns:a16="http://schemas.microsoft.com/office/drawing/2014/main" id="{7B5112E2-4CA4-294E-BC9B-DD315AEE8935}"/>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31" name="Freeform 110">
              <a:extLst>
                <a:ext uri="{FF2B5EF4-FFF2-40B4-BE49-F238E27FC236}">
                  <a16:creationId xmlns:a16="http://schemas.microsoft.com/office/drawing/2014/main" id="{B8173CE6-5D1A-A846-84AC-EC2E79F0576F}"/>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32" name="Group 48">
            <a:extLst>
              <a:ext uri="{FF2B5EF4-FFF2-40B4-BE49-F238E27FC236}">
                <a16:creationId xmlns:a16="http://schemas.microsoft.com/office/drawing/2014/main" id="{845CA248-13D3-B844-9F40-7BA5E1132E69}"/>
              </a:ext>
            </a:extLst>
          </p:cNvPr>
          <p:cNvGrpSpPr>
            <a:grpSpLocks noChangeAspect="1"/>
          </p:cNvGrpSpPr>
          <p:nvPr userDrawn="1"/>
        </p:nvGrpSpPr>
        <p:grpSpPr bwMode="auto">
          <a:xfrm>
            <a:off x="10941132" y="3109340"/>
            <a:ext cx="515826" cy="496764"/>
            <a:chOff x="6532" y="451"/>
            <a:chExt cx="433" cy="417"/>
          </a:xfrm>
          <a:solidFill>
            <a:schemeClr val="accent1"/>
          </a:solidFill>
        </p:grpSpPr>
        <p:sp>
          <p:nvSpPr>
            <p:cNvPr id="333" name="Freeform 49">
              <a:extLst>
                <a:ext uri="{FF2B5EF4-FFF2-40B4-BE49-F238E27FC236}">
                  <a16:creationId xmlns:a16="http://schemas.microsoft.com/office/drawing/2014/main" id="{17E6D66F-E2A5-7445-867C-00B311AB2CDF}"/>
                </a:ext>
              </a:extLst>
            </p:cNvPr>
            <p:cNvSpPr>
              <a:spLocks/>
            </p:cNvSpPr>
            <p:nvPr/>
          </p:nvSpPr>
          <p:spPr bwMode="auto">
            <a:xfrm>
              <a:off x="6837" y="621"/>
              <a:ext cx="128" cy="94"/>
            </a:xfrm>
            <a:custGeom>
              <a:avLst/>
              <a:gdLst>
                <a:gd name="T0" fmla="*/ 7 w 86"/>
                <a:gd name="T1" fmla="*/ 64 h 64"/>
                <a:gd name="T2" fmla="*/ 3 w 86"/>
                <a:gd name="T3" fmla="*/ 63 h 64"/>
                <a:gd name="T4" fmla="*/ 1 w 86"/>
                <a:gd name="T5" fmla="*/ 55 h 64"/>
                <a:gd name="T6" fmla="*/ 34 w 86"/>
                <a:gd name="T7" fmla="*/ 3 h 64"/>
                <a:gd name="T8" fmla="*/ 38 w 86"/>
                <a:gd name="T9" fmla="*/ 0 h 64"/>
                <a:gd name="T10" fmla="*/ 43 w 86"/>
                <a:gd name="T11" fmla="*/ 2 h 64"/>
                <a:gd name="T12" fmla="*/ 84 w 86"/>
                <a:gd name="T13" fmla="*/ 48 h 64"/>
                <a:gd name="T14" fmla="*/ 84 w 86"/>
                <a:gd name="T15" fmla="*/ 56 h 64"/>
                <a:gd name="T16" fmla="*/ 75 w 86"/>
                <a:gd name="T17" fmla="*/ 56 h 64"/>
                <a:gd name="T18" fmla="*/ 40 w 86"/>
                <a:gd name="T19" fmla="*/ 16 h 64"/>
                <a:gd name="T20" fmla="*/ 12 w 86"/>
                <a:gd name="T21" fmla="*/ 61 h 64"/>
                <a:gd name="T22" fmla="*/ 7 w 86"/>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4">
                  <a:moveTo>
                    <a:pt x="7" y="64"/>
                  </a:moveTo>
                  <a:cubicBezTo>
                    <a:pt x="5" y="64"/>
                    <a:pt x="4" y="64"/>
                    <a:pt x="3" y="63"/>
                  </a:cubicBezTo>
                  <a:cubicBezTo>
                    <a:pt x="1" y="62"/>
                    <a:pt x="0" y="58"/>
                    <a:pt x="1" y="55"/>
                  </a:cubicBezTo>
                  <a:cubicBezTo>
                    <a:pt x="34" y="3"/>
                    <a:pt x="34" y="3"/>
                    <a:pt x="34" y="3"/>
                  </a:cubicBezTo>
                  <a:cubicBezTo>
                    <a:pt x="35" y="1"/>
                    <a:pt x="36" y="0"/>
                    <a:pt x="38" y="0"/>
                  </a:cubicBezTo>
                  <a:cubicBezTo>
                    <a:pt x="40" y="0"/>
                    <a:pt x="42" y="1"/>
                    <a:pt x="43" y="2"/>
                  </a:cubicBezTo>
                  <a:cubicBezTo>
                    <a:pt x="84" y="48"/>
                    <a:pt x="84" y="48"/>
                    <a:pt x="84" y="48"/>
                  </a:cubicBezTo>
                  <a:cubicBezTo>
                    <a:pt x="86" y="50"/>
                    <a:pt x="86" y="54"/>
                    <a:pt x="84" y="56"/>
                  </a:cubicBezTo>
                  <a:cubicBezTo>
                    <a:pt x="81" y="58"/>
                    <a:pt x="78" y="58"/>
                    <a:pt x="75" y="56"/>
                  </a:cubicBezTo>
                  <a:cubicBezTo>
                    <a:pt x="40" y="16"/>
                    <a:pt x="40" y="16"/>
                    <a:pt x="40" y="16"/>
                  </a:cubicBezTo>
                  <a:cubicBezTo>
                    <a:pt x="12" y="61"/>
                    <a:pt x="12" y="61"/>
                    <a:pt x="12" y="61"/>
                  </a:cubicBezTo>
                  <a:cubicBezTo>
                    <a:pt x="11" y="63"/>
                    <a:pt x="9" y="64"/>
                    <a:pt x="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4" name="Freeform 50">
              <a:extLst>
                <a:ext uri="{FF2B5EF4-FFF2-40B4-BE49-F238E27FC236}">
                  <a16:creationId xmlns:a16="http://schemas.microsoft.com/office/drawing/2014/main" id="{A947C942-EA82-4B48-9330-14A742F71BE2}"/>
                </a:ext>
              </a:extLst>
            </p:cNvPr>
            <p:cNvSpPr>
              <a:spLocks/>
            </p:cNvSpPr>
            <p:nvPr/>
          </p:nvSpPr>
          <p:spPr bwMode="auto">
            <a:xfrm>
              <a:off x="6759" y="621"/>
              <a:ext cx="157" cy="233"/>
            </a:xfrm>
            <a:custGeom>
              <a:avLst/>
              <a:gdLst>
                <a:gd name="T0" fmla="*/ 7 w 106"/>
                <a:gd name="T1" fmla="*/ 158 h 158"/>
                <a:gd name="T2" fmla="*/ 1 w 106"/>
                <a:gd name="T3" fmla="*/ 154 h 158"/>
                <a:gd name="T4" fmla="*/ 5 w 106"/>
                <a:gd name="T5" fmla="*/ 147 h 158"/>
                <a:gd name="T6" fmla="*/ 74 w 106"/>
                <a:gd name="T7" fmla="*/ 94 h 158"/>
                <a:gd name="T8" fmla="*/ 86 w 106"/>
                <a:gd name="T9" fmla="*/ 8 h 158"/>
                <a:gd name="T10" fmla="*/ 90 w 106"/>
                <a:gd name="T11" fmla="*/ 1 h 158"/>
                <a:gd name="T12" fmla="*/ 97 w 106"/>
                <a:gd name="T13" fmla="*/ 5 h 158"/>
                <a:gd name="T14" fmla="*/ 84 w 106"/>
                <a:gd name="T15" fmla="*/ 100 h 158"/>
                <a:gd name="T16" fmla="*/ 8 w 106"/>
                <a:gd name="T17" fmla="*/ 158 h 158"/>
                <a:gd name="T18" fmla="*/ 7 w 106"/>
                <a:gd name="T1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58">
                  <a:moveTo>
                    <a:pt x="7" y="158"/>
                  </a:moveTo>
                  <a:cubicBezTo>
                    <a:pt x="4" y="158"/>
                    <a:pt x="2" y="157"/>
                    <a:pt x="1" y="154"/>
                  </a:cubicBezTo>
                  <a:cubicBezTo>
                    <a:pt x="0" y="151"/>
                    <a:pt x="2" y="147"/>
                    <a:pt x="5" y="147"/>
                  </a:cubicBezTo>
                  <a:cubicBezTo>
                    <a:pt x="34" y="139"/>
                    <a:pt x="59" y="121"/>
                    <a:pt x="74" y="94"/>
                  </a:cubicBezTo>
                  <a:cubicBezTo>
                    <a:pt x="89" y="68"/>
                    <a:pt x="93" y="38"/>
                    <a:pt x="86" y="8"/>
                  </a:cubicBezTo>
                  <a:cubicBezTo>
                    <a:pt x="85" y="5"/>
                    <a:pt x="87" y="2"/>
                    <a:pt x="90" y="1"/>
                  </a:cubicBezTo>
                  <a:cubicBezTo>
                    <a:pt x="93" y="0"/>
                    <a:pt x="97" y="2"/>
                    <a:pt x="97" y="5"/>
                  </a:cubicBezTo>
                  <a:cubicBezTo>
                    <a:pt x="106" y="38"/>
                    <a:pt x="101" y="71"/>
                    <a:pt x="84" y="100"/>
                  </a:cubicBezTo>
                  <a:cubicBezTo>
                    <a:pt x="67" y="129"/>
                    <a:pt x="40" y="150"/>
                    <a:pt x="8" y="158"/>
                  </a:cubicBezTo>
                  <a:cubicBezTo>
                    <a:pt x="8" y="158"/>
                    <a:pt x="7" y="158"/>
                    <a:pt x="7"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5" name="Freeform 51">
              <a:extLst>
                <a:ext uri="{FF2B5EF4-FFF2-40B4-BE49-F238E27FC236}">
                  <a16:creationId xmlns:a16="http://schemas.microsoft.com/office/drawing/2014/main" id="{F6FECDDB-A3E0-AB42-AE11-B42BD5D93CE1}"/>
                </a:ext>
              </a:extLst>
            </p:cNvPr>
            <p:cNvSpPr>
              <a:spLocks/>
            </p:cNvSpPr>
            <p:nvPr/>
          </p:nvSpPr>
          <p:spPr bwMode="auto">
            <a:xfrm>
              <a:off x="6599" y="451"/>
              <a:ext cx="110" cy="112"/>
            </a:xfrm>
            <a:custGeom>
              <a:avLst/>
              <a:gdLst>
                <a:gd name="T0" fmla="*/ 68 w 74"/>
                <a:gd name="T1" fmla="*/ 76 h 76"/>
                <a:gd name="T2" fmla="*/ 67 w 74"/>
                <a:gd name="T3" fmla="*/ 76 h 76"/>
                <a:gd name="T4" fmla="*/ 6 w 74"/>
                <a:gd name="T5" fmla="*/ 70 h 76"/>
                <a:gd name="T6" fmla="*/ 1 w 74"/>
                <a:gd name="T7" fmla="*/ 67 h 76"/>
                <a:gd name="T8" fmla="*/ 1 w 74"/>
                <a:gd name="T9" fmla="*/ 61 h 76"/>
                <a:gd name="T10" fmla="*/ 24 w 74"/>
                <a:gd name="T11" fmla="*/ 5 h 76"/>
                <a:gd name="T12" fmla="*/ 32 w 74"/>
                <a:gd name="T13" fmla="*/ 1 h 76"/>
                <a:gd name="T14" fmla="*/ 35 w 74"/>
                <a:gd name="T15" fmla="*/ 9 h 76"/>
                <a:gd name="T16" fmla="*/ 15 w 74"/>
                <a:gd name="T17" fmla="*/ 58 h 76"/>
                <a:gd name="T18" fmla="*/ 68 w 74"/>
                <a:gd name="T19" fmla="*/ 64 h 76"/>
                <a:gd name="T20" fmla="*/ 74 w 74"/>
                <a:gd name="T21" fmla="*/ 70 h 76"/>
                <a:gd name="T22" fmla="*/ 68 w 74"/>
                <a:gd name="T2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76">
                  <a:moveTo>
                    <a:pt x="68" y="76"/>
                  </a:moveTo>
                  <a:cubicBezTo>
                    <a:pt x="67" y="76"/>
                    <a:pt x="67" y="76"/>
                    <a:pt x="67" y="76"/>
                  </a:cubicBezTo>
                  <a:cubicBezTo>
                    <a:pt x="6" y="70"/>
                    <a:pt x="6" y="70"/>
                    <a:pt x="6" y="70"/>
                  </a:cubicBezTo>
                  <a:cubicBezTo>
                    <a:pt x="4" y="69"/>
                    <a:pt x="2" y="68"/>
                    <a:pt x="1" y="67"/>
                  </a:cubicBezTo>
                  <a:cubicBezTo>
                    <a:pt x="1" y="65"/>
                    <a:pt x="0" y="63"/>
                    <a:pt x="1" y="61"/>
                  </a:cubicBezTo>
                  <a:cubicBezTo>
                    <a:pt x="24" y="5"/>
                    <a:pt x="24" y="5"/>
                    <a:pt x="24" y="5"/>
                  </a:cubicBezTo>
                  <a:cubicBezTo>
                    <a:pt x="25" y="1"/>
                    <a:pt x="29" y="0"/>
                    <a:pt x="32" y="1"/>
                  </a:cubicBezTo>
                  <a:cubicBezTo>
                    <a:pt x="35" y="2"/>
                    <a:pt x="36" y="6"/>
                    <a:pt x="35" y="9"/>
                  </a:cubicBezTo>
                  <a:cubicBezTo>
                    <a:pt x="15" y="58"/>
                    <a:pt x="15" y="58"/>
                    <a:pt x="15" y="58"/>
                  </a:cubicBezTo>
                  <a:cubicBezTo>
                    <a:pt x="68" y="64"/>
                    <a:pt x="68" y="64"/>
                    <a:pt x="68" y="64"/>
                  </a:cubicBezTo>
                  <a:cubicBezTo>
                    <a:pt x="71" y="64"/>
                    <a:pt x="74" y="67"/>
                    <a:pt x="74" y="70"/>
                  </a:cubicBezTo>
                  <a:cubicBezTo>
                    <a:pt x="73" y="73"/>
                    <a:pt x="71" y="76"/>
                    <a:pt x="6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6" name="Freeform 52">
              <a:extLst>
                <a:ext uri="{FF2B5EF4-FFF2-40B4-BE49-F238E27FC236}">
                  <a16:creationId xmlns:a16="http://schemas.microsoft.com/office/drawing/2014/main" id="{368296E1-91C7-0142-92A5-9FC30718B4EF}"/>
                </a:ext>
              </a:extLst>
            </p:cNvPr>
            <p:cNvSpPr>
              <a:spLocks/>
            </p:cNvSpPr>
            <p:nvPr/>
          </p:nvSpPr>
          <p:spPr bwMode="auto">
            <a:xfrm>
              <a:off x="6599" y="491"/>
              <a:ext cx="269" cy="81"/>
            </a:xfrm>
            <a:custGeom>
              <a:avLst/>
              <a:gdLst>
                <a:gd name="T0" fmla="*/ 175 w 182"/>
                <a:gd name="T1" fmla="*/ 55 h 55"/>
                <a:gd name="T2" fmla="*/ 171 w 182"/>
                <a:gd name="T3" fmla="*/ 53 h 55"/>
                <a:gd name="T4" fmla="*/ 94 w 182"/>
                <a:gd name="T5" fmla="*/ 14 h 55"/>
                <a:gd name="T6" fmla="*/ 11 w 182"/>
                <a:gd name="T7" fmla="*/ 41 h 55"/>
                <a:gd name="T8" fmla="*/ 2 w 182"/>
                <a:gd name="T9" fmla="*/ 40 h 55"/>
                <a:gd name="T10" fmla="*/ 3 w 182"/>
                <a:gd name="T11" fmla="*/ 32 h 55"/>
                <a:gd name="T12" fmla="*/ 94 w 182"/>
                <a:gd name="T13" fmla="*/ 2 h 55"/>
                <a:gd name="T14" fmla="*/ 180 w 182"/>
                <a:gd name="T15" fmla="*/ 45 h 55"/>
                <a:gd name="T16" fmla="*/ 179 w 182"/>
                <a:gd name="T17" fmla="*/ 53 h 55"/>
                <a:gd name="T18" fmla="*/ 175 w 182"/>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55">
                  <a:moveTo>
                    <a:pt x="175" y="55"/>
                  </a:moveTo>
                  <a:cubicBezTo>
                    <a:pt x="174" y="55"/>
                    <a:pt x="172" y="54"/>
                    <a:pt x="171" y="53"/>
                  </a:cubicBezTo>
                  <a:cubicBezTo>
                    <a:pt x="151" y="30"/>
                    <a:pt x="124" y="16"/>
                    <a:pt x="94" y="14"/>
                  </a:cubicBezTo>
                  <a:cubicBezTo>
                    <a:pt x="63" y="12"/>
                    <a:pt x="34" y="21"/>
                    <a:pt x="11" y="41"/>
                  </a:cubicBezTo>
                  <a:cubicBezTo>
                    <a:pt x="8" y="43"/>
                    <a:pt x="4" y="43"/>
                    <a:pt x="2" y="40"/>
                  </a:cubicBezTo>
                  <a:cubicBezTo>
                    <a:pt x="0" y="38"/>
                    <a:pt x="0" y="34"/>
                    <a:pt x="3" y="32"/>
                  </a:cubicBezTo>
                  <a:cubicBezTo>
                    <a:pt x="28" y="10"/>
                    <a:pt x="61" y="0"/>
                    <a:pt x="94" y="2"/>
                  </a:cubicBezTo>
                  <a:cubicBezTo>
                    <a:pt x="128" y="4"/>
                    <a:pt x="159" y="20"/>
                    <a:pt x="180" y="45"/>
                  </a:cubicBezTo>
                  <a:cubicBezTo>
                    <a:pt x="182" y="47"/>
                    <a:pt x="182" y="51"/>
                    <a:pt x="179" y="53"/>
                  </a:cubicBezTo>
                  <a:cubicBezTo>
                    <a:pt x="178" y="54"/>
                    <a:pt x="177" y="55"/>
                    <a:pt x="17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7" name="Freeform 53">
              <a:extLst>
                <a:ext uri="{FF2B5EF4-FFF2-40B4-BE49-F238E27FC236}">
                  <a16:creationId xmlns:a16="http://schemas.microsoft.com/office/drawing/2014/main" id="{58A5879A-4845-1A4E-AD7C-5245A79764CB}"/>
                </a:ext>
              </a:extLst>
            </p:cNvPr>
            <p:cNvSpPr>
              <a:spLocks/>
            </p:cNvSpPr>
            <p:nvPr/>
          </p:nvSpPr>
          <p:spPr bwMode="auto">
            <a:xfrm>
              <a:off x="6568" y="754"/>
              <a:ext cx="108" cy="114"/>
            </a:xfrm>
            <a:custGeom>
              <a:avLst/>
              <a:gdLst>
                <a:gd name="T0" fmla="*/ 7 w 73"/>
                <a:gd name="T1" fmla="*/ 77 h 77"/>
                <a:gd name="T2" fmla="*/ 1 w 73"/>
                <a:gd name="T3" fmla="*/ 72 h 77"/>
                <a:gd name="T4" fmla="*/ 6 w 73"/>
                <a:gd name="T5" fmla="*/ 65 h 77"/>
                <a:gd name="T6" fmla="*/ 58 w 73"/>
                <a:gd name="T7" fmla="*/ 57 h 77"/>
                <a:gd name="T8" fmla="*/ 36 w 73"/>
                <a:gd name="T9" fmla="*/ 9 h 77"/>
                <a:gd name="T10" fmla="*/ 39 w 73"/>
                <a:gd name="T11" fmla="*/ 1 h 77"/>
                <a:gd name="T12" fmla="*/ 47 w 73"/>
                <a:gd name="T13" fmla="*/ 4 h 77"/>
                <a:gd name="T14" fmla="*/ 73 w 73"/>
                <a:gd name="T15" fmla="*/ 60 h 77"/>
                <a:gd name="T16" fmla="*/ 73 w 73"/>
                <a:gd name="T17" fmla="*/ 65 h 77"/>
                <a:gd name="T18" fmla="*/ 68 w 73"/>
                <a:gd name="T19" fmla="*/ 68 h 77"/>
                <a:gd name="T20" fmla="*/ 7 w 73"/>
                <a:gd name="T21" fmla="*/ 77 h 77"/>
                <a:gd name="T22" fmla="*/ 7 w 73"/>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7">
                  <a:moveTo>
                    <a:pt x="7" y="77"/>
                  </a:moveTo>
                  <a:cubicBezTo>
                    <a:pt x="4" y="77"/>
                    <a:pt x="1" y="75"/>
                    <a:pt x="1" y="72"/>
                  </a:cubicBezTo>
                  <a:cubicBezTo>
                    <a:pt x="0" y="69"/>
                    <a:pt x="2" y="66"/>
                    <a:pt x="6" y="65"/>
                  </a:cubicBezTo>
                  <a:cubicBezTo>
                    <a:pt x="58" y="57"/>
                    <a:pt x="58" y="57"/>
                    <a:pt x="58" y="57"/>
                  </a:cubicBezTo>
                  <a:cubicBezTo>
                    <a:pt x="36" y="9"/>
                    <a:pt x="36" y="9"/>
                    <a:pt x="36" y="9"/>
                  </a:cubicBezTo>
                  <a:cubicBezTo>
                    <a:pt x="35" y="6"/>
                    <a:pt x="36" y="2"/>
                    <a:pt x="39" y="1"/>
                  </a:cubicBezTo>
                  <a:cubicBezTo>
                    <a:pt x="42" y="0"/>
                    <a:pt x="46" y="1"/>
                    <a:pt x="47" y="4"/>
                  </a:cubicBezTo>
                  <a:cubicBezTo>
                    <a:pt x="73" y="60"/>
                    <a:pt x="73" y="60"/>
                    <a:pt x="73" y="60"/>
                  </a:cubicBezTo>
                  <a:cubicBezTo>
                    <a:pt x="73" y="61"/>
                    <a:pt x="73" y="63"/>
                    <a:pt x="73" y="65"/>
                  </a:cubicBezTo>
                  <a:cubicBezTo>
                    <a:pt x="72" y="67"/>
                    <a:pt x="70" y="68"/>
                    <a:pt x="68" y="68"/>
                  </a:cubicBezTo>
                  <a:cubicBezTo>
                    <a:pt x="7" y="77"/>
                    <a:pt x="7" y="77"/>
                    <a:pt x="7" y="77"/>
                  </a:cubicBezTo>
                  <a:cubicBezTo>
                    <a:pt x="7" y="77"/>
                    <a:pt x="7" y="77"/>
                    <a:pt x="7" y="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8" name="Freeform 54">
              <a:extLst>
                <a:ext uri="{FF2B5EF4-FFF2-40B4-BE49-F238E27FC236}">
                  <a16:creationId xmlns:a16="http://schemas.microsoft.com/office/drawing/2014/main" id="{B1F284B8-040C-EA40-B415-8A9522FE867B}"/>
                </a:ext>
              </a:extLst>
            </p:cNvPr>
            <p:cNvSpPr>
              <a:spLocks/>
            </p:cNvSpPr>
            <p:nvPr/>
          </p:nvSpPr>
          <p:spPr bwMode="auto">
            <a:xfrm>
              <a:off x="6532" y="612"/>
              <a:ext cx="144" cy="242"/>
            </a:xfrm>
            <a:custGeom>
              <a:avLst/>
              <a:gdLst>
                <a:gd name="T0" fmla="*/ 90 w 97"/>
                <a:gd name="T1" fmla="*/ 164 h 164"/>
                <a:gd name="T2" fmla="*/ 88 w 97"/>
                <a:gd name="T3" fmla="*/ 163 h 164"/>
                <a:gd name="T4" fmla="*/ 17 w 97"/>
                <a:gd name="T5" fmla="*/ 100 h 164"/>
                <a:gd name="T6" fmla="*/ 11 w 97"/>
                <a:gd name="T7" fmla="*/ 4 h 164"/>
                <a:gd name="T8" fmla="*/ 19 w 97"/>
                <a:gd name="T9" fmla="*/ 1 h 164"/>
                <a:gd name="T10" fmla="*/ 22 w 97"/>
                <a:gd name="T11" fmla="*/ 8 h 164"/>
                <a:gd name="T12" fmla="*/ 27 w 97"/>
                <a:gd name="T13" fmla="*/ 94 h 164"/>
                <a:gd name="T14" fmla="*/ 92 w 97"/>
                <a:gd name="T15" fmla="*/ 152 h 164"/>
                <a:gd name="T16" fmla="*/ 96 w 97"/>
                <a:gd name="T17" fmla="*/ 160 h 164"/>
                <a:gd name="T18" fmla="*/ 90 w 97"/>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64">
                  <a:moveTo>
                    <a:pt x="90" y="164"/>
                  </a:moveTo>
                  <a:cubicBezTo>
                    <a:pt x="90" y="164"/>
                    <a:pt x="89" y="164"/>
                    <a:pt x="88" y="163"/>
                  </a:cubicBezTo>
                  <a:cubicBezTo>
                    <a:pt x="57" y="152"/>
                    <a:pt x="31" y="130"/>
                    <a:pt x="17" y="100"/>
                  </a:cubicBezTo>
                  <a:cubicBezTo>
                    <a:pt x="2" y="70"/>
                    <a:pt x="0" y="36"/>
                    <a:pt x="11" y="4"/>
                  </a:cubicBezTo>
                  <a:cubicBezTo>
                    <a:pt x="12" y="1"/>
                    <a:pt x="16" y="0"/>
                    <a:pt x="19" y="1"/>
                  </a:cubicBezTo>
                  <a:cubicBezTo>
                    <a:pt x="22" y="2"/>
                    <a:pt x="23" y="5"/>
                    <a:pt x="22" y="8"/>
                  </a:cubicBezTo>
                  <a:cubicBezTo>
                    <a:pt x="12" y="37"/>
                    <a:pt x="14" y="67"/>
                    <a:pt x="27" y="94"/>
                  </a:cubicBezTo>
                  <a:cubicBezTo>
                    <a:pt x="41" y="121"/>
                    <a:pt x="64" y="142"/>
                    <a:pt x="92" y="152"/>
                  </a:cubicBezTo>
                  <a:cubicBezTo>
                    <a:pt x="96" y="153"/>
                    <a:pt x="97" y="157"/>
                    <a:pt x="96" y="160"/>
                  </a:cubicBezTo>
                  <a:cubicBezTo>
                    <a:pt x="95" y="162"/>
                    <a:pt x="93" y="164"/>
                    <a:pt x="90"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39" name="Group 81">
            <a:extLst>
              <a:ext uri="{FF2B5EF4-FFF2-40B4-BE49-F238E27FC236}">
                <a16:creationId xmlns:a16="http://schemas.microsoft.com/office/drawing/2014/main" id="{6F0CCB4D-675F-F14F-99D5-2DD46749B800}"/>
              </a:ext>
            </a:extLst>
          </p:cNvPr>
          <p:cNvGrpSpPr>
            <a:grpSpLocks noChangeAspect="1"/>
          </p:cNvGrpSpPr>
          <p:nvPr userDrawn="1"/>
        </p:nvGrpSpPr>
        <p:grpSpPr bwMode="auto">
          <a:xfrm>
            <a:off x="798612" y="5509828"/>
            <a:ext cx="450851" cy="449782"/>
            <a:chOff x="1370" y="1720"/>
            <a:chExt cx="426" cy="425"/>
          </a:xfrm>
          <a:solidFill>
            <a:schemeClr val="accent1"/>
          </a:solidFill>
        </p:grpSpPr>
        <p:sp>
          <p:nvSpPr>
            <p:cNvPr id="340" name="Freeform 82">
              <a:extLst>
                <a:ext uri="{FF2B5EF4-FFF2-40B4-BE49-F238E27FC236}">
                  <a16:creationId xmlns:a16="http://schemas.microsoft.com/office/drawing/2014/main" id="{AFD37094-822A-F447-8CE7-9F103F960375}"/>
                </a:ext>
              </a:extLst>
            </p:cNvPr>
            <p:cNvSpPr>
              <a:spLocks/>
            </p:cNvSpPr>
            <p:nvPr/>
          </p:nvSpPr>
          <p:spPr bwMode="auto">
            <a:xfrm>
              <a:off x="1370" y="1755"/>
              <a:ext cx="426" cy="390"/>
            </a:xfrm>
            <a:custGeom>
              <a:avLst/>
              <a:gdLst>
                <a:gd name="T0" fmla="*/ 282 w 288"/>
                <a:gd name="T1" fmla="*/ 264 h 264"/>
                <a:gd name="T2" fmla="*/ 6 w 288"/>
                <a:gd name="T3" fmla="*/ 264 h 264"/>
                <a:gd name="T4" fmla="*/ 0 w 288"/>
                <a:gd name="T5" fmla="*/ 258 h 264"/>
                <a:gd name="T6" fmla="*/ 0 w 288"/>
                <a:gd name="T7" fmla="*/ 6 h 264"/>
                <a:gd name="T8" fmla="*/ 6 w 288"/>
                <a:gd name="T9" fmla="*/ 0 h 264"/>
                <a:gd name="T10" fmla="*/ 54 w 288"/>
                <a:gd name="T11" fmla="*/ 0 h 264"/>
                <a:gd name="T12" fmla="*/ 60 w 288"/>
                <a:gd name="T13" fmla="*/ 6 h 264"/>
                <a:gd name="T14" fmla="*/ 54 w 288"/>
                <a:gd name="T15" fmla="*/ 12 h 264"/>
                <a:gd name="T16" fmla="*/ 12 w 288"/>
                <a:gd name="T17" fmla="*/ 12 h 264"/>
                <a:gd name="T18" fmla="*/ 12 w 288"/>
                <a:gd name="T19" fmla="*/ 252 h 264"/>
                <a:gd name="T20" fmla="*/ 276 w 288"/>
                <a:gd name="T21" fmla="*/ 252 h 264"/>
                <a:gd name="T22" fmla="*/ 276 w 288"/>
                <a:gd name="T23" fmla="*/ 12 h 264"/>
                <a:gd name="T24" fmla="*/ 234 w 288"/>
                <a:gd name="T25" fmla="*/ 12 h 264"/>
                <a:gd name="T26" fmla="*/ 228 w 288"/>
                <a:gd name="T27" fmla="*/ 6 h 264"/>
                <a:gd name="T28" fmla="*/ 234 w 288"/>
                <a:gd name="T29" fmla="*/ 0 h 264"/>
                <a:gd name="T30" fmla="*/ 282 w 288"/>
                <a:gd name="T31" fmla="*/ 0 h 264"/>
                <a:gd name="T32" fmla="*/ 288 w 288"/>
                <a:gd name="T33" fmla="*/ 6 h 264"/>
                <a:gd name="T34" fmla="*/ 288 w 288"/>
                <a:gd name="T35" fmla="*/ 258 h 264"/>
                <a:gd name="T36" fmla="*/ 282 w 288"/>
                <a:gd name="T3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64">
                  <a:moveTo>
                    <a:pt x="282" y="264"/>
                  </a:moveTo>
                  <a:cubicBezTo>
                    <a:pt x="6" y="264"/>
                    <a:pt x="6" y="264"/>
                    <a:pt x="6" y="264"/>
                  </a:cubicBezTo>
                  <a:cubicBezTo>
                    <a:pt x="3" y="264"/>
                    <a:pt x="0" y="261"/>
                    <a:pt x="0" y="258"/>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252"/>
                    <a:pt x="12" y="252"/>
                    <a:pt x="12" y="252"/>
                  </a:cubicBezTo>
                  <a:cubicBezTo>
                    <a:pt x="276" y="252"/>
                    <a:pt x="276" y="252"/>
                    <a:pt x="276" y="252"/>
                  </a:cubicBezTo>
                  <a:cubicBezTo>
                    <a:pt x="276" y="12"/>
                    <a:pt x="276" y="12"/>
                    <a:pt x="276" y="12"/>
                  </a:cubicBezTo>
                  <a:cubicBezTo>
                    <a:pt x="234" y="12"/>
                    <a:pt x="234" y="12"/>
                    <a:pt x="234" y="12"/>
                  </a:cubicBezTo>
                  <a:cubicBezTo>
                    <a:pt x="231" y="12"/>
                    <a:pt x="228" y="9"/>
                    <a:pt x="228" y="6"/>
                  </a:cubicBezTo>
                  <a:cubicBezTo>
                    <a:pt x="228" y="2"/>
                    <a:pt x="231" y="0"/>
                    <a:pt x="234" y="0"/>
                  </a:cubicBezTo>
                  <a:cubicBezTo>
                    <a:pt x="282" y="0"/>
                    <a:pt x="282" y="0"/>
                    <a:pt x="282" y="0"/>
                  </a:cubicBezTo>
                  <a:cubicBezTo>
                    <a:pt x="286" y="0"/>
                    <a:pt x="288" y="2"/>
                    <a:pt x="288" y="6"/>
                  </a:cubicBezTo>
                  <a:cubicBezTo>
                    <a:pt x="288" y="258"/>
                    <a:pt x="288" y="258"/>
                    <a:pt x="288" y="258"/>
                  </a:cubicBezTo>
                  <a:cubicBezTo>
                    <a:pt x="288" y="261"/>
                    <a:pt x="286" y="264"/>
                    <a:pt x="282"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83">
              <a:extLst>
                <a:ext uri="{FF2B5EF4-FFF2-40B4-BE49-F238E27FC236}">
                  <a16:creationId xmlns:a16="http://schemas.microsoft.com/office/drawing/2014/main" id="{3422F472-FD2E-E146-B0EE-B299A1CAE080}"/>
                </a:ext>
              </a:extLst>
            </p:cNvPr>
            <p:cNvSpPr>
              <a:spLocks noEditPoints="1"/>
            </p:cNvSpPr>
            <p:nvPr/>
          </p:nvSpPr>
          <p:spPr bwMode="auto">
            <a:xfrm>
              <a:off x="1441"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84">
              <a:extLst>
                <a:ext uri="{FF2B5EF4-FFF2-40B4-BE49-F238E27FC236}">
                  <a16:creationId xmlns:a16="http://schemas.microsoft.com/office/drawing/2014/main" id="{A5C0B545-2E7A-5941-9C66-99945E3792ED}"/>
                </a:ext>
              </a:extLst>
            </p:cNvPr>
            <p:cNvSpPr>
              <a:spLocks noEditPoints="1"/>
            </p:cNvSpPr>
            <p:nvPr/>
          </p:nvSpPr>
          <p:spPr bwMode="auto">
            <a:xfrm>
              <a:off x="1654" y="1720"/>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2"/>
                    <a:pt x="3" y="0"/>
                    <a:pt x="6" y="0"/>
                  </a:cubicBezTo>
                  <a:cubicBezTo>
                    <a:pt x="42" y="0"/>
                    <a:pt x="42" y="0"/>
                    <a:pt x="42" y="0"/>
                  </a:cubicBezTo>
                  <a:cubicBezTo>
                    <a:pt x="46" y="0"/>
                    <a:pt x="48" y="2"/>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85">
              <a:extLst>
                <a:ext uri="{FF2B5EF4-FFF2-40B4-BE49-F238E27FC236}">
                  <a16:creationId xmlns:a16="http://schemas.microsoft.com/office/drawing/2014/main" id="{374CD6E2-C0BA-8E40-A449-820C4406F10F}"/>
                </a:ext>
              </a:extLst>
            </p:cNvPr>
            <p:cNvSpPr>
              <a:spLocks/>
            </p:cNvSpPr>
            <p:nvPr/>
          </p:nvSpPr>
          <p:spPr bwMode="auto">
            <a:xfrm>
              <a:off x="1495" y="1755"/>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4" name="Freeform 86">
              <a:extLst>
                <a:ext uri="{FF2B5EF4-FFF2-40B4-BE49-F238E27FC236}">
                  <a16:creationId xmlns:a16="http://schemas.microsoft.com/office/drawing/2014/main" id="{5650B1E9-10A3-734D-9AC1-8B333A356749}"/>
                </a:ext>
              </a:extLst>
            </p:cNvPr>
            <p:cNvSpPr>
              <a:spLocks/>
            </p:cNvSpPr>
            <p:nvPr/>
          </p:nvSpPr>
          <p:spPr bwMode="auto">
            <a:xfrm>
              <a:off x="1370" y="1844"/>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2"/>
                    <a:pt x="3" y="0"/>
                    <a:pt x="6" y="0"/>
                  </a:cubicBezTo>
                  <a:cubicBezTo>
                    <a:pt x="282" y="0"/>
                    <a:pt x="282" y="0"/>
                    <a:pt x="282" y="0"/>
                  </a:cubicBezTo>
                  <a:cubicBezTo>
                    <a:pt x="286" y="0"/>
                    <a:pt x="288" y="2"/>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87">
              <a:extLst>
                <a:ext uri="{FF2B5EF4-FFF2-40B4-BE49-F238E27FC236}">
                  <a16:creationId xmlns:a16="http://schemas.microsoft.com/office/drawing/2014/main" id="{4B7887F8-0B63-E948-966D-617614E80C9B}"/>
                </a:ext>
              </a:extLst>
            </p:cNvPr>
            <p:cNvSpPr>
              <a:spLocks/>
            </p:cNvSpPr>
            <p:nvPr/>
          </p:nvSpPr>
          <p:spPr bwMode="auto">
            <a:xfrm>
              <a:off x="1477"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6" name="Freeform 88">
              <a:extLst>
                <a:ext uri="{FF2B5EF4-FFF2-40B4-BE49-F238E27FC236}">
                  <a16:creationId xmlns:a16="http://schemas.microsoft.com/office/drawing/2014/main" id="{ABE6E62F-E613-A74D-B3A8-299734AD81E5}"/>
                </a:ext>
              </a:extLst>
            </p:cNvPr>
            <p:cNvSpPr>
              <a:spLocks/>
            </p:cNvSpPr>
            <p:nvPr/>
          </p:nvSpPr>
          <p:spPr bwMode="auto">
            <a:xfrm>
              <a:off x="1565"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89">
              <a:extLst>
                <a:ext uri="{FF2B5EF4-FFF2-40B4-BE49-F238E27FC236}">
                  <a16:creationId xmlns:a16="http://schemas.microsoft.com/office/drawing/2014/main" id="{695E4311-FAD6-9945-AF11-C24EB5180752}"/>
                </a:ext>
              </a:extLst>
            </p:cNvPr>
            <p:cNvSpPr>
              <a:spLocks/>
            </p:cNvSpPr>
            <p:nvPr/>
          </p:nvSpPr>
          <p:spPr bwMode="auto">
            <a:xfrm>
              <a:off x="1654" y="1879"/>
              <a:ext cx="18" cy="231"/>
            </a:xfrm>
            <a:custGeom>
              <a:avLst/>
              <a:gdLst>
                <a:gd name="T0" fmla="*/ 6 w 12"/>
                <a:gd name="T1" fmla="*/ 156 h 156"/>
                <a:gd name="T2" fmla="*/ 0 w 12"/>
                <a:gd name="T3" fmla="*/ 150 h 156"/>
                <a:gd name="T4" fmla="*/ 0 w 12"/>
                <a:gd name="T5" fmla="*/ 6 h 156"/>
                <a:gd name="T6" fmla="*/ 6 w 12"/>
                <a:gd name="T7" fmla="*/ 0 h 156"/>
                <a:gd name="T8" fmla="*/ 12 w 12"/>
                <a:gd name="T9" fmla="*/ 6 h 156"/>
                <a:gd name="T10" fmla="*/ 12 w 12"/>
                <a:gd name="T11" fmla="*/ 150 h 156"/>
                <a:gd name="T12" fmla="*/ 6 w 1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12" h="156">
                  <a:moveTo>
                    <a:pt x="6" y="156"/>
                  </a:moveTo>
                  <a:cubicBezTo>
                    <a:pt x="3" y="156"/>
                    <a:pt x="0" y="153"/>
                    <a:pt x="0" y="150"/>
                  </a:cubicBezTo>
                  <a:cubicBezTo>
                    <a:pt x="0" y="6"/>
                    <a:pt x="0" y="6"/>
                    <a:pt x="0" y="6"/>
                  </a:cubicBezTo>
                  <a:cubicBezTo>
                    <a:pt x="0" y="2"/>
                    <a:pt x="3" y="0"/>
                    <a:pt x="6" y="0"/>
                  </a:cubicBezTo>
                  <a:cubicBezTo>
                    <a:pt x="10" y="0"/>
                    <a:pt x="12" y="2"/>
                    <a:pt x="12" y="6"/>
                  </a:cubicBezTo>
                  <a:cubicBezTo>
                    <a:pt x="12" y="150"/>
                    <a:pt x="12" y="150"/>
                    <a:pt x="12" y="150"/>
                  </a:cubicBezTo>
                  <a:cubicBezTo>
                    <a:pt x="12" y="153"/>
                    <a:pt x="10" y="156"/>
                    <a:pt x="6"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8" name="Freeform 90">
              <a:extLst>
                <a:ext uri="{FF2B5EF4-FFF2-40B4-BE49-F238E27FC236}">
                  <a16:creationId xmlns:a16="http://schemas.microsoft.com/office/drawing/2014/main" id="{F6332ED2-95E6-314D-B133-3718ED39BF6D}"/>
                </a:ext>
              </a:extLst>
            </p:cNvPr>
            <p:cNvSpPr>
              <a:spLocks/>
            </p:cNvSpPr>
            <p:nvPr/>
          </p:nvSpPr>
          <p:spPr bwMode="auto">
            <a:xfrm>
              <a:off x="1406" y="1915"/>
              <a:ext cx="355" cy="18"/>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91">
              <a:extLst>
                <a:ext uri="{FF2B5EF4-FFF2-40B4-BE49-F238E27FC236}">
                  <a16:creationId xmlns:a16="http://schemas.microsoft.com/office/drawing/2014/main" id="{6A20710A-A127-3045-90AC-4BEF3E718D67}"/>
                </a:ext>
              </a:extLst>
            </p:cNvPr>
            <p:cNvSpPr>
              <a:spLocks/>
            </p:cNvSpPr>
            <p:nvPr/>
          </p:nvSpPr>
          <p:spPr bwMode="auto">
            <a:xfrm>
              <a:off x="1406" y="1986"/>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50" name="Freeform 92">
              <a:extLst>
                <a:ext uri="{FF2B5EF4-FFF2-40B4-BE49-F238E27FC236}">
                  <a16:creationId xmlns:a16="http://schemas.microsoft.com/office/drawing/2014/main" id="{D7659633-77CA-5343-AA5A-F95F88663879}"/>
                </a:ext>
              </a:extLst>
            </p:cNvPr>
            <p:cNvSpPr>
              <a:spLocks/>
            </p:cNvSpPr>
            <p:nvPr/>
          </p:nvSpPr>
          <p:spPr bwMode="auto">
            <a:xfrm>
              <a:off x="1406" y="2057"/>
              <a:ext cx="355" cy="17"/>
            </a:xfrm>
            <a:custGeom>
              <a:avLst/>
              <a:gdLst>
                <a:gd name="T0" fmla="*/ 234 w 240"/>
                <a:gd name="T1" fmla="*/ 12 h 12"/>
                <a:gd name="T2" fmla="*/ 6 w 240"/>
                <a:gd name="T3" fmla="*/ 12 h 12"/>
                <a:gd name="T4" fmla="*/ 0 w 240"/>
                <a:gd name="T5" fmla="*/ 6 h 12"/>
                <a:gd name="T6" fmla="*/ 6 w 240"/>
                <a:gd name="T7" fmla="*/ 0 h 12"/>
                <a:gd name="T8" fmla="*/ 234 w 240"/>
                <a:gd name="T9" fmla="*/ 0 h 12"/>
                <a:gd name="T10" fmla="*/ 240 w 240"/>
                <a:gd name="T11" fmla="*/ 6 h 12"/>
                <a:gd name="T12" fmla="*/ 234 w 2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0" h="12">
                  <a:moveTo>
                    <a:pt x="234" y="12"/>
                  </a:moveTo>
                  <a:cubicBezTo>
                    <a:pt x="6" y="12"/>
                    <a:pt x="6" y="12"/>
                    <a:pt x="6" y="12"/>
                  </a:cubicBezTo>
                  <a:cubicBezTo>
                    <a:pt x="3" y="12"/>
                    <a:pt x="0" y="9"/>
                    <a:pt x="0" y="6"/>
                  </a:cubicBezTo>
                  <a:cubicBezTo>
                    <a:pt x="0" y="2"/>
                    <a:pt x="3" y="0"/>
                    <a:pt x="6" y="0"/>
                  </a:cubicBezTo>
                  <a:cubicBezTo>
                    <a:pt x="234" y="0"/>
                    <a:pt x="234" y="0"/>
                    <a:pt x="234" y="0"/>
                  </a:cubicBezTo>
                  <a:cubicBezTo>
                    <a:pt x="238" y="0"/>
                    <a:pt x="240" y="2"/>
                    <a:pt x="240" y="6"/>
                  </a:cubicBezTo>
                  <a:cubicBezTo>
                    <a:pt x="240" y="9"/>
                    <a:pt x="238" y="12"/>
                    <a:pt x="2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1" name="Freeform 144">
            <a:extLst>
              <a:ext uri="{FF2B5EF4-FFF2-40B4-BE49-F238E27FC236}">
                <a16:creationId xmlns:a16="http://schemas.microsoft.com/office/drawing/2014/main" id="{887C956D-5C6A-EF41-B68E-293B826857D7}"/>
              </a:ext>
            </a:extLst>
          </p:cNvPr>
          <p:cNvSpPr>
            <a:spLocks/>
          </p:cNvSpPr>
          <p:nvPr userDrawn="1"/>
        </p:nvSpPr>
        <p:spPr bwMode="auto">
          <a:xfrm rot="10800000">
            <a:off x="2171887" y="1915146"/>
            <a:ext cx="274440" cy="529622"/>
          </a:xfrm>
          <a:custGeom>
            <a:avLst/>
            <a:gdLst>
              <a:gd name="T0" fmla="*/ 116 w 154"/>
              <a:gd name="T1" fmla="*/ 167 h 297"/>
              <a:gd name="T2" fmla="*/ 83 w 154"/>
              <a:gd name="T3" fmla="*/ 119 h 297"/>
              <a:gd name="T4" fmla="*/ 83 w 154"/>
              <a:gd name="T5" fmla="*/ 18 h 297"/>
              <a:gd name="T6" fmla="*/ 83 w 154"/>
              <a:gd name="T7" fmla="*/ 17 h 297"/>
              <a:gd name="T8" fmla="*/ 83 w 154"/>
              <a:gd name="T9" fmla="*/ 17 h 297"/>
              <a:gd name="T10" fmla="*/ 109 w 154"/>
              <a:gd name="T11" fmla="*/ 34 h 297"/>
              <a:gd name="T12" fmla="*/ 118 w 154"/>
              <a:gd name="T13" fmla="*/ 33 h 297"/>
              <a:gd name="T14" fmla="*/ 119 w 154"/>
              <a:gd name="T15" fmla="*/ 30 h 297"/>
              <a:gd name="T16" fmla="*/ 116 w 154"/>
              <a:gd name="T17" fmla="*/ 25 h 297"/>
              <a:gd name="T18" fmla="*/ 80 w 154"/>
              <a:gd name="T19" fmla="*/ 1 h 297"/>
              <a:gd name="T20" fmla="*/ 80 w 154"/>
              <a:gd name="T21" fmla="*/ 1 h 297"/>
              <a:gd name="T22" fmla="*/ 80 w 154"/>
              <a:gd name="T23" fmla="*/ 1 h 297"/>
              <a:gd name="T24" fmla="*/ 80 w 154"/>
              <a:gd name="T25" fmla="*/ 1 h 297"/>
              <a:gd name="T26" fmla="*/ 79 w 154"/>
              <a:gd name="T27" fmla="*/ 0 h 297"/>
              <a:gd name="T28" fmla="*/ 79 w 154"/>
              <a:gd name="T29" fmla="*/ 0 h 297"/>
              <a:gd name="T30" fmla="*/ 77 w 154"/>
              <a:gd name="T31" fmla="*/ 0 h 297"/>
              <a:gd name="T32" fmla="*/ 77 w 154"/>
              <a:gd name="T33" fmla="*/ 0 h 297"/>
              <a:gd name="T34" fmla="*/ 76 w 154"/>
              <a:gd name="T35" fmla="*/ 0 h 297"/>
              <a:gd name="T36" fmla="*/ 75 w 154"/>
              <a:gd name="T37" fmla="*/ 0 h 297"/>
              <a:gd name="T38" fmla="*/ 74 w 154"/>
              <a:gd name="T39" fmla="*/ 1 h 297"/>
              <a:gd name="T40" fmla="*/ 74 w 154"/>
              <a:gd name="T41" fmla="*/ 1 h 297"/>
              <a:gd name="T42" fmla="*/ 74 w 154"/>
              <a:gd name="T43" fmla="*/ 1 h 297"/>
              <a:gd name="T44" fmla="*/ 74 w 154"/>
              <a:gd name="T45" fmla="*/ 1 h 297"/>
              <a:gd name="T46" fmla="*/ 38 w 154"/>
              <a:gd name="T47" fmla="*/ 25 h 297"/>
              <a:gd name="T48" fmla="*/ 37 w 154"/>
              <a:gd name="T49" fmla="*/ 33 h 297"/>
              <a:gd name="T50" fmla="*/ 45 w 154"/>
              <a:gd name="T51" fmla="*/ 34 h 297"/>
              <a:gd name="T52" fmla="*/ 71 w 154"/>
              <a:gd name="T53" fmla="*/ 17 h 297"/>
              <a:gd name="T54" fmla="*/ 71 w 154"/>
              <a:gd name="T55" fmla="*/ 17 h 297"/>
              <a:gd name="T56" fmla="*/ 71 w 154"/>
              <a:gd name="T57" fmla="*/ 18 h 297"/>
              <a:gd name="T58" fmla="*/ 71 w 154"/>
              <a:gd name="T59" fmla="*/ 119 h 297"/>
              <a:gd name="T60" fmla="*/ 38 w 154"/>
              <a:gd name="T61" fmla="*/ 167 h 297"/>
              <a:gd name="T62" fmla="*/ 0 w 154"/>
              <a:gd name="T63" fmla="*/ 226 h 297"/>
              <a:gd name="T64" fmla="*/ 0 w 154"/>
              <a:gd name="T65" fmla="*/ 255 h 297"/>
              <a:gd name="T66" fmla="*/ 0 w 154"/>
              <a:gd name="T67" fmla="*/ 280 h 297"/>
              <a:gd name="T68" fmla="*/ 0 w 154"/>
              <a:gd name="T69" fmla="*/ 291 h 297"/>
              <a:gd name="T70" fmla="*/ 6 w 154"/>
              <a:gd name="T71" fmla="*/ 297 h 297"/>
              <a:gd name="T72" fmla="*/ 12 w 154"/>
              <a:gd name="T73" fmla="*/ 291 h 297"/>
              <a:gd name="T74" fmla="*/ 12 w 154"/>
              <a:gd name="T75" fmla="*/ 280 h 297"/>
              <a:gd name="T76" fmla="*/ 12 w 154"/>
              <a:gd name="T77" fmla="*/ 280 h 297"/>
              <a:gd name="T78" fmla="*/ 12 w 154"/>
              <a:gd name="T79" fmla="*/ 226 h 297"/>
              <a:gd name="T80" fmla="*/ 45 w 154"/>
              <a:gd name="T81" fmla="*/ 177 h 297"/>
              <a:gd name="T82" fmla="*/ 77 w 154"/>
              <a:gd name="T83" fmla="*/ 146 h 297"/>
              <a:gd name="T84" fmla="*/ 109 w 154"/>
              <a:gd name="T85" fmla="*/ 177 h 297"/>
              <a:gd name="T86" fmla="*/ 142 w 154"/>
              <a:gd name="T87" fmla="*/ 226 h 297"/>
              <a:gd name="T88" fmla="*/ 142 w 154"/>
              <a:gd name="T89" fmla="*/ 280 h 297"/>
              <a:gd name="T90" fmla="*/ 142 w 154"/>
              <a:gd name="T91" fmla="*/ 280 h 297"/>
              <a:gd name="T92" fmla="*/ 142 w 154"/>
              <a:gd name="T93" fmla="*/ 291 h 297"/>
              <a:gd name="T94" fmla="*/ 148 w 154"/>
              <a:gd name="T95" fmla="*/ 297 h 297"/>
              <a:gd name="T96" fmla="*/ 154 w 154"/>
              <a:gd name="T97" fmla="*/ 291 h 297"/>
              <a:gd name="T98" fmla="*/ 154 w 154"/>
              <a:gd name="T99" fmla="*/ 280 h 297"/>
              <a:gd name="T100" fmla="*/ 154 w 154"/>
              <a:gd name="T101" fmla="*/ 255 h 297"/>
              <a:gd name="T102" fmla="*/ 154 w 154"/>
              <a:gd name="T103" fmla="*/ 226 h 297"/>
              <a:gd name="T104" fmla="*/ 116 w 154"/>
              <a:gd name="T105"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297">
                <a:moveTo>
                  <a:pt x="116" y="167"/>
                </a:moveTo>
                <a:cubicBezTo>
                  <a:pt x="98" y="156"/>
                  <a:pt x="83" y="146"/>
                  <a:pt x="83" y="119"/>
                </a:cubicBezTo>
                <a:cubicBezTo>
                  <a:pt x="83" y="18"/>
                  <a:pt x="83" y="18"/>
                  <a:pt x="83" y="18"/>
                </a:cubicBezTo>
                <a:cubicBezTo>
                  <a:pt x="83" y="18"/>
                  <a:pt x="83" y="17"/>
                  <a:pt x="83" y="17"/>
                </a:cubicBezTo>
                <a:cubicBezTo>
                  <a:pt x="83" y="17"/>
                  <a:pt x="83" y="17"/>
                  <a:pt x="83" y="17"/>
                </a:cubicBezTo>
                <a:cubicBezTo>
                  <a:pt x="109" y="34"/>
                  <a:pt x="109" y="34"/>
                  <a:pt x="109" y="34"/>
                </a:cubicBezTo>
                <a:cubicBezTo>
                  <a:pt x="112" y="36"/>
                  <a:pt x="116" y="36"/>
                  <a:pt x="118" y="33"/>
                </a:cubicBezTo>
                <a:cubicBezTo>
                  <a:pt x="118" y="32"/>
                  <a:pt x="119" y="31"/>
                  <a:pt x="119" y="30"/>
                </a:cubicBezTo>
                <a:cubicBezTo>
                  <a:pt x="119" y="28"/>
                  <a:pt x="118" y="26"/>
                  <a:pt x="116" y="25"/>
                </a:cubicBezTo>
                <a:cubicBezTo>
                  <a:pt x="80" y="1"/>
                  <a:pt x="80" y="1"/>
                  <a:pt x="80" y="1"/>
                </a:cubicBezTo>
                <a:cubicBezTo>
                  <a:pt x="80" y="1"/>
                  <a:pt x="80" y="1"/>
                  <a:pt x="80" y="1"/>
                </a:cubicBezTo>
                <a:cubicBezTo>
                  <a:pt x="80" y="1"/>
                  <a:pt x="80" y="1"/>
                  <a:pt x="80" y="1"/>
                </a:cubicBezTo>
                <a:cubicBezTo>
                  <a:pt x="80" y="1"/>
                  <a:pt x="80" y="1"/>
                  <a:pt x="80" y="1"/>
                </a:cubicBezTo>
                <a:cubicBezTo>
                  <a:pt x="80" y="1"/>
                  <a:pt x="79" y="0"/>
                  <a:pt x="79" y="0"/>
                </a:cubicBezTo>
                <a:cubicBezTo>
                  <a:pt x="79" y="0"/>
                  <a:pt x="79" y="0"/>
                  <a:pt x="79" y="0"/>
                </a:cubicBezTo>
                <a:cubicBezTo>
                  <a:pt x="78" y="0"/>
                  <a:pt x="78" y="0"/>
                  <a:pt x="77" y="0"/>
                </a:cubicBezTo>
                <a:cubicBezTo>
                  <a:pt x="77" y="0"/>
                  <a:pt x="77" y="0"/>
                  <a:pt x="77" y="0"/>
                </a:cubicBezTo>
                <a:cubicBezTo>
                  <a:pt x="76" y="0"/>
                  <a:pt x="76" y="0"/>
                  <a:pt x="76" y="0"/>
                </a:cubicBezTo>
                <a:cubicBezTo>
                  <a:pt x="75" y="0"/>
                  <a:pt x="75" y="0"/>
                  <a:pt x="75" y="0"/>
                </a:cubicBezTo>
                <a:cubicBezTo>
                  <a:pt x="75" y="0"/>
                  <a:pt x="74" y="1"/>
                  <a:pt x="74" y="1"/>
                </a:cubicBezTo>
                <a:cubicBezTo>
                  <a:pt x="74" y="1"/>
                  <a:pt x="74" y="1"/>
                  <a:pt x="74" y="1"/>
                </a:cubicBezTo>
                <a:cubicBezTo>
                  <a:pt x="74" y="1"/>
                  <a:pt x="74" y="1"/>
                  <a:pt x="74" y="1"/>
                </a:cubicBezTo>
                <a:cubicBezTo>
                  <a:pt x="74" y="1"/>
                  <a:pt x="74" y="1"/>
                  <a:pt x="74" y="1"/>
                </a:cubicBezTo>
                <a:cubicBezTo>
                  <a:pt x="38" y="25"/>
                  <a:pt x="38" y="25"/>
                  <a:pt x="38" y="25"/>
                </a:cubicBezTo>
                <a:cubicBezTo>
                  <a:pt x="35" y="26"/>
                  <a:pt x="35" y="30"/>
                  <a:pt x="37" y="33"/>
                </a:cubicBezTo>
                <a:cubicBezTo>
                  <a:pt x="38" y="36"/>
                  <a:pt x="42" y="36"/>
                  <a:pt x="45" y="34"/>
                </a:cubicBezTo>
                <a:cubicBezTo>
                  <a:pt x="71" y="17"/>
                  <a:pt x="71" y="17"/>
                  <a:pt x="71" y="17"/>
                </a:cubicBezTo>
                <a:cubicBezTo>
                  <a:pt x="71" y="17"/>
                  <a:pt x="71" y="17"/>
                  <a:pt x="71" y="17"/>
                </a:cubicBezTo>
                <a:cubicBezTo>
                  <a:pt x="71" y="17"/>
                  <a:pt x="71" y="18"/>
                  <a:pt x="71" y="18"/>
                </a:cubicBezTo>
                <a:cubicBezTo>
                  <a:pt x="71" y="119"/>
                  <a:pt x="71" y="119"/>
                  <a:pt x="71" y="119"/>
                </a:cubicBezTo>
                <a:cubicBezTo>
                  <a:pt x="71" y="146"/>
                  <a:pt x="56" y="156"/>
                  <a:pt x="38" y="167"/>
                </a:cubicBezTo>
                <a:cubicBezTo>
                  <a:pt x="20" y="179"/>
                  <a:pt x="0" y="193"/>
                  <a:pt x="0" y="226"/>
                </a:cubicBezTo>
                <a:cubicBezTo>
                  <a:pt x="0" y="255"/>
                  <a:pt x="0" y="255"/>
                  <a:pt x="0" y="255"/>
                </a:cubicBezTo>
                <a:cubicBezTo>
                  <a:pt x="0" y="280"/>
                  <a:pt x="0" y="280"/>
                  <a:pt x="0" y="280"/>
                </a:cubicBezTo>
                <a:cubicBezTo>
                  <a:pt x="0" y="291"/>
                  <a:pt x="0" y="291"/>
                  <a:pt x="0" y="291"/>
                </a:cubicBezTo>
                <a:cubicBezTo>
                  <a:pt x="0" y="294"/>
                  <a:pt x="3" y="297"/>
                  <a:pt x="6" y="297"/>
                </a:cubicBezTo>
                <a:cubicBezTo>
                  <a:pt x="9" y="297"/>
                  <a:pt x="12" y="294"/>
                  <a:pt x="12" y="291"/>
                </a:cubicBezTo>
                <a:cubicBezTo>
                  <a:pt x="12" y="280"/>
                  <a:pt x="12" y="280"/>
                  <a:pt x="12" y="280"/>
                </a:cubicBezTo>
                <a:cubicBezTo>
                  <a:pt x="12" y="280"/>
                  <a:pt x="12" y="280"/>
                  <a:pt x="12" y="280"/>
                </a:cubicBezTo>
                <a:cubicBezTo>
                  <a:pt x="12" y="226"/>
                  <a:pt x="12" y="226"/>
                  <a:pt x="12" y="226"/>
                </a:cubicBezTo>
                <a:cubicBezTo>
                  <a:pt x="12" y="199"/>
                  <a:pt x="27" y="189"/>
                  <a:pt x="45" y="177"/>
                </a:cubicBezTo>
                <a:cubicBezTo>
                  <a:pt x="57" y="169"/>
                  <a:pt x="70" y="161"/>
                  <a:pt x="77" y="146"/>
                </a:cubicBezTo>
                <a:cubicBezTo>
                  <a:pt x="84" y="161"/>
                  <a:pt x="97" y="169"/>
                  <a:pt x="109" y="177"/>
                </a:cubicBezTo>
                <a:cubicBezTo>
                  <a:pt x="127" y="189"/>
                  <a:pt x="142" y="199"/>
                  <a:pt x="142" y="226"/>
                </a:cubicBezTo>
                <a:cubicBezTo>
                  <a:pt x="142" y="280"/>
                  <a:pt x="142" y="280"/>
                  <a:pt x="142" y="280"/>
                </a:cubicBezTo>
                <a:cubicBezTo>
                  <a:pt x="142" y="280"/>
                  <a:pt x="142" y="280"/>
                  <a:pt x="142" y="280"/>
                </a:cubicBezTo>
                <a:cubicBezTo>
                  <a:pt x="142" y="291"/>
                  <a:pt x="142" y="291"/>
                  <a:pt x="142" y="291"/>
                </a:cubicBezTo>
                <a:cubicBezTo>
                  <a:pt x="142" y="294"/>
                  <a:pt x="145" y="297"/>
                  <a:pt x="148" y="297"/>
                </a:cubicBezTo>
                <a:cubicBezTo>
                  <a:pt x="152" y="297"/>
                  <a:pt x="154" y="294"/>
                  <a:pt x="154" y="291"/>
                </a:cubicBezTo>
                <a:cubicBezTo>
                  <a:pt x="154" y="280"/>
                  <a:pt x="154" y="280"/>
                  <a:pt x="154" y="280"/>
                </a:cubicBezTo>
                <a:cubicBezTo>
                  <a:pt x="154" y="255"/>
                  <a:pt x="154" y="255"/>
                  <a:pt x="154" y="255"/>
                </a:cubicBezTo>
                <a:cubicBezTo>
                  <a:pt x="154" y="226"/>
                  <a:pt x="154" y="226"/>
                  <a:pt x="154" y="226"/>
                </a:cubicBezTo>
                <a:cubicBezTo>
                  <a:pt x="154" y="193"/>
                  <a:pt x="134" y="179"/>
                  <a:pt x="116"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52" name="Group 351">
            <a:extLst>
              <a:ext uri="{FF2B5EF4-FFF2-40B4-BE49-F238E27FC236}">
                <a16:creationId xmlns:a16="http://schemas.microsoft.com/office/drawing/2014/main" id="{93CF84E6-DB80-C040-8D2B-6B117435B35D}"/>
              </a:ext>
            </a:extLst>
          </p:cNvPr>
          <p:cNvGrpSpPr>
            <a:grpSpLocks noChangeAspect="1"/>
          </p:cNvGrpSpPr>
          <p:nvPr userDrawn="1"/>
        </p:nvGrpSpPr>
        <p:grpSpPr bwMode="auto">
          <a:xfrm>
            <a:off x="7132640" y="1933804"/>
            <a:ext cx="491102" cy="492306"/>
            <a:chOff x="1378" y="455"/>
            <a:chExt cx="408" cy="409"/>
          </a:xfrm>
          <a:solidFill>
            <a:schemeClr val="accent1"/>
          </a:solidFill>
        </p:grpSpPr>
        <p:sp>
          <p:nvSpPr>
            <p:cNvPr id="353" name="Freeform 10">
              <a:extLst>
                <a:ext uri="{FF2B5EF4-FFF2-40B4-BE49-F238E27FC236}">
                  <a16:creationId xmlns:a16="http://schemas.microsoft.com/office/drawing/2014/main" id="{19E0843A-545A-5E44-8AF6-E92D9679B4AC}"/>
                </a:ext>
              </a:extLst>
            </p:cNvPr>
            <p:cNvSpPr>
              <a:spLocks noEditPoints="1"/>
            </p:cNvSpPr>
            <p:nvPr/>
          </p:nvSpPr>
          <p:spPr bwMode="auto">
            <a:xfrm>
              <a:off x="1412" y="489"/>
              <a:ext cx="340" cy="341"/>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12 h 230"/>
                <a:gd name="T12" fmla="*/ 12 w 230"/>
                <a:gd name="T13" fmla="*/ 115 h 230"/>
                <a:gd name="T14" fmla="*/ 115 w 230"/>
                <a:gd name="T15" fmla="*/ 218 h 230"/>
                <a:gd name="T16" fmla="*/ 218 w 230"/>
                <a:gd name="T17" fmla="*/ 115 h 230"/>
                <a:gd name="T18" fmla="*/ 115 w 230"/>
                <a:gd name="T19" fmla="*/ 1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close/>
                  <a:moveTo>
                    <a:pt x="115" y="12"/>
                  </a:moveTo>
                  <a:cubicBezTo>
                    <a:pt x="59" y="12"/>
                    <a:pt x="12" y="58"/>
                    <a:pt x="12" y="115"/>
                  </a:cubicBezTo>
                  <a:cubicBezTo>
                    <a:pt x="12" y="172"/>
                    <a:pt x="59" y="218"/>
                    <a:pt x="115" y="218"/>
                  </a:cubicBezTo>
                  <a:cubicBezTo>
                    <a:pt x="172" y="218"/>
                    <a:pt x="218" y="172"/>
                    <a:pt x="218" y="115"/>
                  </a:cubicBezTo>
                  <a:cubicBezTo>
                    <a:pt x="218" y="58"/>
                    <a:pt x="172"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4" name="Freeform 11">
              <a:extLst>
                <a:ext uri="{FF2B5EF4-FFF2-40B4-BE49-F238E27FC236}">
                  <a16:creationId xmlns:a16="http://schemas.microsoft.com/office/drawing/2014/main" id="{E215F30D-61AD-A146-85D1-7B02FC0B2576}"/>
                </a:ext>
              </a:extLst>
            </p:cNvPr>
            <p:cNvSpPr>
              <a:spLocks noEditPoints="1"/>
            </p:cNvSpPr>
            <p:nvPr/>
          </p:nvSpPr>
          <p:spPr bwMode="auto">
            <a:xfrm>
              <a:off x="1498" y="574"/>
              <a:ext cx="170" cy="170"/>
            </a:xfrm>
            <a:custGeom>
              <a:avLst/>
              <a:gdLst>
                <a:gd name="T0" fmla="*/ 57 w 115"/>
                <a:gd name="T1" fmla="*/ 115 h 115"/>
                <a:gd name="T2" fmla="*/ 0 w 115"/>
                <a:gd name="T3" fmla="*/ 58 h 115"/>
                <a:gd name="T4" fmla="*/ 57 w 115"/>
                <a:gd name="T5" fmla="*/ 0 h 115"/>
                <a:gd name="T6" fmla="*/ 115 w 115"/>
                <a:gd name="T7" fmla="*/ 58 h 115"/>
                <a:gd name="T8" fmla="*/ 57 w 115"/>
                <a:gd name="T9" fmla="*/ 115 h 115"/>
                <a:gd name="T10" fmla="*/ 57 w 115"/>
                <a:gd name="T11" fmla="*/ 12 h 115"/>
                <a:gd name="T12" fmla="*/ 12 w 115"/>
                <a:gd name="T13" fmla="*/ 58 h 115"/>
                <a:gd name="T14" fmla="*/ 57 w 115"/>
                <a:gd name="T15" fmla="*/ 103 h 115"/>
                <a:gd name="T16" fmla="*/ 103 w 115"/>
                <a:gd name="T17" fmla="*/ 58 h 115"/>
                <a:gd name="T18" fmla="*/ 57 w 115"/>
                <a:gd name="T19" fmla="*/ 1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26" y="115"/>
                    <a:pt x="0" y="90"/>
                    <a:pt x="0" y="58"/>
                  </a:cubicBezTo>
                  <a:cubicBezTo>
                    <a:pt x="0" y="26"/>
                    <a:pt x="26" y="0"/>
                    <a:pt x="57" y="0"/>
                  </a:cubicBezTo>
                  <a:cubicBezTo>
                    <a:pt x="89" y="0"/>
                    <a:pt x="115" y="26"/>
                    <a:pt x="115" y="58"/>
                  </a:cubicBezTo>
                  <a:cubicBezTo>
                    <a:pt x="115" y="90"/>
                    <a:pt x="89" y="115"/>
                    <a:pt x="57" y="115"/>
                  </a:cubicBezTo>
                  <a:close/>
                  <a:moveTo>
                    <a:pt x="57" y="12"/>
                  </a:moveTo>
                  <a:cubicBezTo>
                    <a:pt x="32" y="12"/>
                    <a:pt x="12" y="33"/>
                    <a:pt x="12" y="58"/>
                  </a:cubicBezTo>
                  <a:cubicBezTo>
                    <a:pt x="12" y="83"/>
                    <a:pt x="32" y="103"/>
                    <a:pt x="57" y="103"/>
                  </a:cubicBezTo>
                  <a:cubicBezTo>
                    <a:pt x="83" y="103"/>
                    <a:pt x="103" y="83"/>
                    <a:pt x="103" y="58"/>
                  </a:cubicBezTo>
                  <a:cubicBezTo>
                    <a:pt x="103" y="33"/>
                    <a:pt x="83" y="12"/>
                    <a:pt x="5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5" name="Freeform 12">
              <a:extLst>
                <a:ext uri="{FF2B5EF4-FFF2-40B4-BE49-F238E27FC236}">
                  <a16:creationId xmlns:a16="http://schemas.microsoft.com/office/drawing/2014/main" id="{B99AB6FD-96E3-0141-8570-EF1AD6989162}"/>
                </a:ext>
              </a:extLst>
            </p:cNvPr>
            <p:cNvSpPr>
              <a:spLocks/>
            </p:cNvSpPr>
            <p:nvPr/>
          </p:nvSpPr>
          <p:spPr bwMode="auto">
            <a:xfrm>
              <a:off x="1573" y="455"/>
              <a:ext cx="18" cy="409"/>
            </a:xfrm>
            <a:custGeom>
              <a:avLst/>
              <a:gdLst>
                <a:gd name="T0" fmla="*/ 6 w 12"/>
                <a:gd name="T1" fmla="*/ 276 h 276"/>
                <a:gd name="T2" fmla="*/ 0 w 12"/>
                <a:gd name="T3" fmla="*/ 270 h 276"/>
                <a:gd name="T4" fmla="*/ 0 w 12"/>
                <a:gd name="T5" fmla="*/ 6 h 276"/>
                <a:gd name="T6" fmla="*/ 6 w 12"/>
                <a:gd name="T7" fmla="*/ 0 h 276"/>
                <a:gd name="T8" fmla="*/ 12 w 12"/>
                <a:gd name="T9" fmla="*/ 6 h 276"/>
                <a:gd name="T10" fmla="*/ 12 w 12"/>
                <a:gd name="T11" fmla="*/ 270 h 276"/>
                <a:gd name="T12" fmla="*/ 6 w 12"/>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2" h="276">
                  <a:moveTo>
                    <a:pt x="6" y="276"/>
                  </a:moveTo>
                  <a:cubicBezTo>
                    <a:pt x="3" y="276"/>
                    <a:pt x="0" y="273"/>
                    <a:pt x="0" y="270"/>
                  </a:cubicBezTo>
                  <a:cubicBezTo>
                    <a:pt x="0" y="6"/>
                    <a:pt x="0" y="6"/>
                    <a:pt x="0" y="6"/>
                  </a:cubicBezTo>
                  <a:cubicBezTo>
                    <a:pt x="0" y="3"/>
                    <a:pt x="3" y="0"/>
                    <a:pt x="6" y="0"/>
                  </a:cubicBezTo>
                  <a:cubicBezTo>
                    <a:pt x="10" y="0"/>
                    <a:pt x="12" y="3"/>
                    <a:pt x="12" y="6"/>
                  </a:cubicBezTo>
                  <a:cubicBezTo>
                    <a:pt x="12" y="270"/>
                    <a:pt x="12" y="270"/>
                    <a:pt x="12" y="270"/>
                  </a:cubicBezTo>
                  <a:cubicBezTo>
                    <a:pt x="12" y="273"/>
                    <a:pt x="10" y="276"/>
                    <a:pt x="6"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6" name="Freeform 13">
              <a:extLst>
                <a:ext uri="{FF2B5EF4-FFF2-40B4-BE49-F238E27FC236}">
                  <a16:creationId xmlns:a16="http://schemas.microsoft.com/office/drawing/2014/main" id="{B8756B43-11EC-4C44-B2BA-7B15246B220E}"/>
                </a:ext>
              </a:extLst>
            </p:cNvPr>
            <p:cNvSpPr>
              <a:spLocks/>
            </p:cNvSpPr>
            <p:nvPr/>
          </p:nvSpPr>
          <p:spPr bwMode="auto">
            <a:xfrm>
              <a:off x="1378" y="651"/>
              <a:ext cx="408" cy="17"/>
            </a:xfrm>
            <a:custGeom>
              <a:avLst/>
              <a:gdLst>
                <a:gd name="T0" fmla="*/ 270 w 276"/>
                <a:gd name="T1" fmla="*/ 12 h 12"/>
                <a:gd name="T2" fmla="*/ 6 w 276"/>
                <a:gd name="T3" fmla="*/ 12 h 12"/>
                <a:gd name="T4" fmla="*/ 0 w 276"/>
                <a:gd name="T5" fmla="*/ 6 h 12"/>
                <a:gd name="T6" fmla="*/ 6 w 276"/>
                <a:gd name="T7" fmla="*/ 0 h 12"/>
                <a:gd name="T8" fmla="*/ 270 w 276"/>
                <a:gd name="T9" fmla="*/ 0 h 12"/>
                <a:gd name="T10" fmla="*/ 276 w 276"/>
                <a:gd name="T11" fmla="*/ 6 h 12"/>
                <a:gd name="T12" fmla="*/ 270 w 2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76" h="12">
                  <a:moveTo>
                    <a:pt x="270" y="12"/>
                  </a:moveTo>
                  <a:cubicBezTo>
                    <a:pt x="6" y="12"/>
                    <a:pt x="6" y="12"/>
                    <a:pt x="6" y="12"/>
                  </a:cubicBezTo>
                  <a:cubicBezTo>
                    <a:pt x="3" y="12"/>
                    <a:pt x="0" y="9"/>
                    <a:pt x="0" y="6"/>
                  </a:cubicBezTo>
                  <a:cubicBezTo>
                    <a:pt x="0" y="3"/>
                    <a:pt x="3" y="0"/>
                    <a:pt x="6" y="0"/>
                  </a:cubicBezTo>
                  <a:cubicBezTo>
                    <a:pt x="270" y="0"/>
                    <a:pt x="270" y="0"/>
                    <a:pt x="270" y="0"/>
                  </a:cubicBezTo>
                  <a:cubicBezTo>
                    <a:pt x="274" y="0"/>
                    <a:pt x="276" y="3"/>
                    <a:pt x="276" y="6"/>
                  </a:cubicBezTo>
                  <a:cubicBezTo>
                    <a:pt x="276" y="9"/>
                    <a:pt x="274" y="12"/>
                    <a:pt x="27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57" name="Group 60">
            <a:extLst>
              <a:ext uri="{FF2B5EF4-FFF2-40B4-BE49-F238E27FC236}">
                <a16:creationId xmlns:a16="http://schemas.microsoft.com/office/drawing/2014/main" id="{3B66017D-AE30-3842-A30B-430AD751F9D3}"/>
              </a:ext>
            </a:extLst>
          </p:cNvPr>
          <p:cNvGrpSpPr>
            <a:grpSpLocks noChangeAspect="1"/>
          </p:cNvGrpSpPr>
          <p:nvPr userDrawn="1"/>
        </p:nvGrpSpPr>
        <p:grpSpPr bwMode="auto">
          <a:xfrm>
            <a:off x="3334652" y="5494451"/>
            <a:ext cx="481666" cy="480536"/>
            <a:chOff x="348" y="1721"/>
            <a:chExt cx="426" cy="425"/>
          </a:xfrm>
          <a:solidFill>
            <a:schemeClr val="accent1"/>
          </a:solidFill>
        </p:grpSpPr>
        <p:sp>
          <p:nvSpPr>
            <p:cNvPr id="358" name="Freeform 61">
              <a:extLst>
                <a:ext uri="{FF2B5EF4-FFF2-40B4-BE49-F238E27FC236}">
                  <a16:creationId xmlns:a16="http://schemas.microsoft.com/office/drawing/2014/main" id="{2C5B2D4E-1F4D-CB46-A341-2B749AC7F16E}"/>
                </a:ext>
              </a:extLst>
            </p:cNvPr>
            <p:cNvSpPr>
              <a:spLocks noEditPoints="1"/>
            </p:cNvSpPr>
            <p:nvPr/>
          </p:nvSpPr>
          <p:spPr bwMode="auto">
            <a:xfrm>
              <a:off x="348" y="1721"/>
              <a:ext cx="373" cy="372"/>
            </a:xfrm>
            <a:custGeom>
              <a:avLst/>
              <a:gdLst>
                <a:gd name="T0" fmla="*/ 126 w 252"/>
                <a:gd name="T1" fmla="*/ 252 h 252"/>
                <a:gd name="T2" fmla="*/ 0 w 252"/>
                <a:gd name="T3" fmla="*/ 126 h 252"/>
                <a:gd name="T4" fmla="*/ 126 w 252"/>
                <a:gd name="T5" fmla="*/ 0 h 252"/>
                <a:gd name="T6" fmla="*/ 252 w 252"/>
                <a:gd name="T7" fmla="*/ 126 h 252"/>
                <a:gd name="T8" fmla="*/ 126 w 252"/>
                <a:gd name="T9" fmla="*/ 252 h 252"/>
                <a:gd name="T10" fmla="*/ 126 w 252"/>
                <a:gd name="T11" fmla="*/ 12 h 252"/>
                <a:gd name="T12" fmla="*/ 12 w 252"/>
                <a:gd name="T13" fmla="*/ 126 h 252"/>
                <a:gd name="T14" fmla="*/ 126 w 252"/>
                <a:gd name="T15" fmla="*/ 240 h 252"/>
                <a:gd name="T16" fmla="*/ 240 w 252"/>
                <a:gd name="T17" fmla="*/ 126 h 252"/>
                <a:gd name="T18" fmla="*/ 126 w 252"/>
                <a:gd name="T19" fmla="*/ 1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252"/>
                  </a:moveTo>
                  <a:cubicBezTo>
                    <a:pt x="56" y="252"/>
                    <a:pt x="0" y="195"/>
                    <a:pt x="0" y="126"/>
                  </a:cubicBezTo>
                  <a:cubicBezTo>
                    <a:pt x="0" y="56"/>
                    <a:pt x="56" y="0"/>
                    <a:pt x="126" y="0"/>
                  </a:cubicBezTo>
                  <a:cubicBezTo>
                    <a:pt x="195" y="0"/>
                    <a:pt x="252" y="56"/>
                    <a:pt x="252" y="126"/>
                  </a:cubicBezTo>
                  <a:cubicBezTo>
                    <a:pt x="252" y="195"/>
                    <a:pt x="195" y="252"/>
                    <a:pt x="126" y="252"/>
                  </a:cubicBezTo>
                  <a:close/>
                  <a:moveTo>
                    <a:pt x="126" y="12"/>
                  </a:moveTo>
                  <a:cubicBezTo>
                    <a:pt x="63" y="12"/>
                    <a:pt x="12" y="63"/>
                    <a:pt x="12" y="126"/>
                  </a:cubicBezTo>
                  <a:cubicBezTo>
                    <a:pt x="12" y="188"/>
                    <a:pt x="63" y="240"/>
                    <a:pt x="126" y="240"/>
                  </a:cubicBezTo>
                  <a:cubicBezTo>
                    <a:pt x="188" y="240"/>
                    <a:pt x="240" y="188"/>
                    <a:pt x="240" y="126"/>
                  </a:cubicBezTo>
                  <a:cubicBezTo>
                    <a:pt x="240" y="63"/>
                    <a:pt x="188"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59" name="Freeform 62">
              <a:extLst>
                <a:ext uri="{FF2B5EF4-FFF2-40B4-BE49-F238E27FC236}">
                  <a16:creationId xmlns:a16="http://schemas.microsoft.com/office/drawing/2014/main" id="{DD515909-F712-6D4B-BF72-2C4B8885D1C9}"/>
                </a:ext>
              </a:extLst>
            </p:cNvPr>
            <p:cNvSpPr>
              <a:spLocks/>
            </p:cNvSpPr>
            <p:nvPr/>
          </p:nvSpPr>
          <p:spPr bwMode="auto">
            <a:xfrm>
              <a:off x="650" y="2022"/>
              <a:ext cx="124" cy="124"/>
            </a:xfrm>
            <a:custGeom>
              <a:avLst/>
              <a:gdLst>
                <a:gd name="T0" fmla="*/ 78 w 84"/>
                <a:gd name="T1" fmla="*/ 84 h 84"/>
                <a:gd name="T2" fmla="*/ 73 w 84"/>
                <a:gd name="T3" fmla="*/ 82 h 84"/>
                <a:gd name="T4" fmla="*/ 2 w 84"/>
                <a:gd name="T5" fmla="*/ 11 h 84"/>
                <a:gd name="T6" fmla="*/ 2 w 84"/>
                <a:gd name="T7" fmla="*/ 2 h 84"/>
                <a:gd name="T8" fmla="*/ 11 w 84"/>
                <a:gd name="T9" fmla="*/ 2 h 84"/>
                <a:gd name="T10" fmla="*/ 82 w 84"/>
                <a:gd name="T11" fmla="*/ 73 h 84"/>
                <a:gd name="T12" fmla="*/ 82 w 84"/>
                <a:gd name="T13" fmla="*/ 82 h 84"/>
                <a:gd name="T14" fmla="*/ 78 w 84"/>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4">
                  <a:moveTo>
                    <a:pt x="78" y="84"/>
                  </a:moveTo>
                  <a:cubicBezTo>
                    <a:pt x="76" y="84"/>
                    <a:pt x="75" y="83"/>
                    <a:pt x="73" y="82"/>
                  </a:cubicBezTo>
                  <a:cubicBezTo>
                    <a:pt x="2" y="11"/>
                    <a:pt x="2" y="11"/>
                    <a:pt x="2" y="11"/>
                  </a:cubicBezTo>
                  <a:cubicBezTo>
                    <a:pt x="0" y="8"/>
                    <a:pt x="0" y="5"/>
                    <a:pt x="2" y="2"/>
                  </a:cubicBezTo>
                  <a:cubicBezTo>
                    <a:pt x="5" y="0"/>
                    <a:pt x="8" y="0"/>
                    <a:pt x="11" y="2"/>
                  </a:cubicBezTo>
                  <a:cubicBezTo>
                    <a:pt x="82" y="73"/>
                    <a:pt x="82" y="73"/>
                    <a:pt x="82" y="73"/>
                  </a:cubicBezTo>
                  <a:cubicBezTo>
                    <a:pt x="84" y="76"/>
                    <a:pt x="84" y="80"/>
                    <a:pt x="82" y="82"/>
                  </a:cubicBezTo>
                  <a:cubicBezTo>
                    <a:pt x="81"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0" name="Freeform 63">
              <a:extLst>
                <a:ext uri="{FF2B5EF4-FFF2-40B4-BE49-F238E27FC236}">
                  <a16:creationId xmlns:a16="http://schemas.microsoft.com/office/drawing/2014/main" id="{CC9BE79E-AA71-604B-8FB7-CFEA0AC849D7}"/>
                </a:ext>
              </a:extLst>
            </p:cNvPr>
            <p:cNvSpPr>
              <a:spLocks noEditPoints="1"/>
            </p:cNvSpPr>
            <p:nvPr/>
          </p:nvSpPr>
          <p:spPr bwMode="auto">
            <a:xfrm>
              <a:off x="412" y="1783"/>
              <a:ext cx="244" cy="248"/>
            </a:xfrm>
            <a:custGeom>
              <a:avLst/>
              <a:gdLst>
                <a:gd name="T0" fmla="*/ 66 w 165"/>
                <a:gd name="T1" fmla="*/ 168 h 168"/>
                <a:gd name="T2" fmla="*/ 60 w 165"/>
                <a:gd name="T3" fmla="*/ 146 h 168"/>
                <a:gd name="T4" fmla="*/ 27 w 165"/>
                <a:gd name="T5" fmla="*/ 143 h 168"/>
                <a:gd name="T6" fmla="*/ 1 w 165"/>
                <a:gd name="T7" fmla="*/ 110 h 168"/>
                <a:gd name="T8" fmla="*/ 3 w 165"/>
                <a:gd name="T9" fmla="*/ 102 h 168"/>
                <a:gd name="T10" fmla="*/ 17 w 165"/>
                <a:gd name="T11" fmla="*/ 74 h 168"/>
                <a:gd name="T12" fmla="*/ 0 w 165"/>
                <a:gd name="T13" fmla="*/ 62 h 168"/>
                <a:gd name="T14" fmla="*/ 19 w 165"/>
                <a:gd name="T15" fmla="*/ 26 h 168"/>
                <a:gd name="T16" fmla="*/ 42 w 165"/>
                <a:gd name="T17" fmla="*/ 32 h 168"/>
                <a:gd name="T18" fmla="*/ 60 w 165"/>
                <a:gd name="T19" fmla="*/ 6 h 168"/>
                <a:gd name="T20" fmla="*/ 102 w 165"/>
                <a:gd name="T21" fmla="*/ 0 h 168"/>
                <a:gd name="T22" fmla="*/ 108 w 165"/>
                <a:gd name="T23" fmla="*/ 23 h 168"/>
                <a:gd name="T24" fmla="*/ 138 w 165"/>
                <a:gd name="T25" fmla="*/ 24 h 168"/>
                <a:gd name="T26" fmla="*/ 146 w 165"/>
                <a:gd name="T27" fmla="*/ 26 h 168"/>
                <a:gd name="T28" fmla="*/ 165 w 165"/>
                <a:gd name="T29" fmla="*/ 62 h 168"/>
                <a:gd name="T30" fmla="*/ 148 w 165"/>
                <a:gd name="T31" fmla="*/ 74 h 168"/>
                <a:gd name="T32" fmla="*/ 162 w 165"/>
                <a:gd name="T33" fmla="*/ 102 h 168"/>
                <a:gd name="T34" fmla="*/ 164 w 165"/>
                <a:gd name="T35" fmla="*/ 110 h 168"/>
                <a:gd name="T36" fmla="*/ 143 w 165"/>
                <a:gd name="T37" fmla="*/ 144 h 168"/>
                <a:gd name="T38" fmla="*/ 124 w 165"/>
                <a:gd name="T39" fmla="*/ 135 h 168"/>
                <a:gd name="T40" fmla="*/ 108 w 165"/>
                <a:gd name="T41" fmla="*/ 162 h 168"/>
                <a:gd name="T42" fmla="*/ 72 w 165"/>
                <a:gd name="T43" fmla="*/ 156 h 168"/>
                <a:gd name="T44" fmla="*/ 96 w 165"/>
                <a:gd name="T45" fmla="*/ 141 h 168"/>
                <a:gd name="T46" fmla="*/ 120 w 165"/>
                <a:gd name="T47" fmla="*/ 123 h 168"/>
                <a:gd name="T48" fmla="*/ 139 w 165"/>
                <a:gd name="T49" fmla="*/ 130 h 168"/>
                <a:gd name="T50" fmla="*/ 138 w 165"/>
                <a:gd name="T51" fmla="*/ 102 h 168"/>
                <a:gd name="T52" fmla="*/ 135 w 165"/>
                <a:gd name="T53" fmla="*/ 72 h 168"/>
                <a:gd name="T54" fmla="*/ 151 w 165"/>
                <a:gd name="T55" fmla="*/ 58 h 168"/>
                <a:gd name="T56" fmla="*/ 127 w 165"/>
                <a:gd name="T57" fmla="*/ 45 h 168"/>
                <a:gd name="T58" fmla="*/ 100 w 165"/>
                <a:gd name="T59" fmla="*/ 32 h 168"/>
                <a:gd name="T60" fmla="*/ 96 w 165"/>
                <a:gd name="T61" fmla="*/ 12 h 168"/>
                <a:gd name="T62" fmla="*/ 72 w 165"/>
                <a:gd name="T63" fmla="*/ 26 h 168"/>
                <a:gd name="T64" fmla="*/ 47 w 165"/>
                <a:gd name="T65" fmla="*/ 44 h 168"/>
                <a:gd name="T66" fmla="*/ 27 w 165"/>
                <a:gd name="T67" fmla="*/ 37 h 168"/>
                <a:gd name="T68" fmla="*/ 27 w 165"/>
                <a:gd name="T69" fmla="*/ 65 h 168"/>
                <a:gd name="T70" fmla="*/ 30 w 165"/>
                <a:gd name="T71" fmla="*/ 95 h 168"/>
                <a:gd name="T72" fmla="*/ 14 w 165"/>
                <a:gd name="T73" fmla="*/ 109 h 168"/>
                <a:gd name="T74" fmla="*/ 40 w 165"/>
                <a:gd name="T75" fmla="*/ 123 h 168"/>
                <a:gd name="T76" fmla="*/ 67 w 165"/>
                <a:gd name="T77" fmla="*/ 135 h 168"/>
                <a:gd name="T78" fmla="*/ 72 w 165"/>
                <a:gd name="T79"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5" h="168">
                  <a:moveTo>
                    <a:pt x="102" y="168"/>
                  </a:moveTo>
                  <a:cubicBezTo>
                    <a:pt x="66" y="168"/>
                    <a:pt x="66" y="168"/>
                    <a:pt x="66" y="168"/>
                  </a:cubicBezTo>
                  <a:cubicBezTo>
                    <a:pt x="63" y="168"/>
                    <a:pt x="60" y="165"/>
                    <a:pt x="60" y="162"/>
                  </a:cubicBezTo>
                  <a:cubicBezTo>
                    <a:pt x="60" y="146"/>
                    <a:pt x="60" y="146"/>
                    <a:pt x="60" y="146"/>
                  </a:cubicBezTo>
                  <a:cubicBezTo>
                    <a:pt x="52" y="143"/>
                    <a:pt x="47" y="139"/>
                    <a:pt x="42" y="135"/>
                  </a:cubicBezTo>
                  <a:cubicBezTo>
                    <a:pt x="27" y="143"/>
                    <a:pt x="27" y="143"/>
                    <a:pt x="27" y="143"/>
                  </a:cubicBezTo>
                  <a:cubicBezTo>
                    <a:pt x="24" y="145"/>
                    <a:pt x="21" y="144"/>
                    <a:pt x="19" y="141"/>
                  </a:cubicBezTo>
                  <a:cubicBezTo>
                    <a:pt x="1" y="110"/>
                    <a:pt x="1" y="110"/>
                    <a:pt x="1" y="110"/>
                  </a:cubicBezTo>
                  <a:cubicBezTo>
                    <a:pt x="0" y="109"/>
                    <a:pt x="0" y="107"/>
                    <a:pt x="0" y="106"/>
                  </a:cubicBezTo>
                  <a:cubicBezTo>
                    <a:pt x="1" y="104"/>
                    <a:pt x="2" y="103"/>
                    <a:pt x="3" y="102"/>
                  </a:cubicBezTo>
                  <a:cubicBezTo>
                    <a:pt x="17" y="94"/>
                    <a:pt x="17" y="94"/>
                    <a:pt x="17" y="94"/>
                  </a:cubicBezTo>
                  <a:cubicBezTo>
                    <a:pt x="16" y="87"/>
                    <a:pt x="16" y="80"/>
                    <a:pt x="17" y="74"/>
                  </a:cubicBezTo>
                  <a:cubicBezTo>
                    <a:pt x="3" y="65"/>
                    <a:pt x="3" y="65"/>
                    <a:pt x="3" y="65"/>
                  </a:cubicBezTo>
                  <a:cubicBezTo>
                    <a:pt x="2" y="65"/>
                    <a:pt x="1" y="63"/>
                    <a:pt x="0" y="62"/>
                  </a:cubicBezTo>
                  <a:cubicBezTo>
                    <a:pt x="0" y="60"/>
                    <a:pt x="0" y="59"/>
                    <a:pt x="1" y="57"/>
                  </a:cubicBezTo>
                  <a:cubicBezTo>
                    <a:pt x="19" y="26"/>
                    <a:pt x="19" y="26"/>
                    <a:pt x="19" y="26"/>
                  </a:cubicBezTo>
                  <a:cubicBezTo>
                    <a:pt x="21" y="23"/>
                    <a:pt x="25" y="22"/>
                    <a:pt x="27" y="24"/>
                  </a:cubicBezTo>
                  <a:cubicBezTo>
                    <a:pt x="42" y="32"/>
                    <a:pt x="42" y="32"/>
                    <a:pt x="42" y="32"/>
                  </a:cubicBezTo>
                  <a:cubicBezTo>
                    <a:pt x="47" y="28"/>
                    <a:pt x="52" y="24"/>
                    <a:pt x="60" y="22"/>
                  </a:cubicBezTo>
                  <a:cubicBezTo>
                    <a:pt x="60" y="6"/>
                    <a:pt x="60" y="6"/>
                    <a:pt x="60" y="6"/>
                  </a:cubicBezTo>
                  <a:cubicBezTo>
                    <a:pt x="60" y="2"/>
                    <a:pt x="63" y="0"/>
                    <a:pt x="66" y="0"/>
                  </a:cubicBezTo>
                  <a:cubicBezTo>
                    <a:pt x="102" y="0"/>
                    <a:pt x="102" y="0"/>
                    <a:pt x="102" y="0"/>
                  </a:cubicBezTo>
                  <a:cubicBezTo>
                    <a:pt x="105" y="0"/>
                    <a:pt x="108" y="2"/>
                    <a:pt x="108" y="6"/>
                  </a:cubicBezTo>
                  <a:cubicBezTo>
                    <a:pt x="108" y="23"/>
                    <a:pt x="108" y="23"/>
                    <a:pt x="108" y="23"/>
                  </a:cubicBezTo>
                  <a:cubicBezTo>
                    <a:pt x="115" y="26"/>
                    <a:pt x="120" y="29"/>
                    <a:pt x="124" y="32"/>
                  </a:cubicBezTo>
                  <a:cubicBezTo>
                    <a:pt x="138" y="24"/>
                    <a:pt x="138" y="24"/>
                    <a:pt x="138" y="24"/>
                  </a:cubicBezTo>
                  <a:cubicBezTo>
                    <a:pt x="139" y="23"/>
                    <a:pt x="141" y="23"/>
                    <a:pt x="143" y="23"/>
                  </a:cubicBezTo>
                  <a:cubicBezTo>
                    <a:pt x="144" y="24"/>
                    <a:pt x="146" y="25"/>
                    <a:pt x="146" y="26"/>
                  </a:cubicBezTo>
                  <a:cubicBezTo>
                    <a:pt x="164" y="57"/>
                    <a:pt x="164" y="57"/>
                    <a:pt x="164" y="57"/>
                  </a:cubicBezTo>
                  <a:cubicBezTo>
                    <a:pt x="165" y="59"/>
                    <a:pt x="165" y="60"/>
                    <a:pt x="165" y="62"/>
                  </a:cubicBezTo>
                  <a:cubicBezTo>
                    <a:pt x="165" y="63"/>
                    <a:pt x="164" y="65"/>
                    <a:pt x="162" y="65"/>
                  </a:cubicBezTo>
                  <a:cubicBezTo>
                    <a:pt x="148" y="74"/>
                    <a:pt x="148" y="74"/>
                    <a:pt x="148" y="74"/>
                  </a:cubicBezTo>
                  <a:cubicBezTo>
                    <a:pt x="149" y="80"/>
                    <a:pt x="149" y="87"/>
                    <a:pt x="148" y="94"/>
                  </a:cubicBezTo>
                  <a:cubicBezTo>
                    <a:pt x="162" y="102"/>
                    <a:pt x="162" y="102"/>
                    <a:pt x="162" y="102"/>
                  </a:cubicBezTo>
                  <a:cubicBezTo>
                    <a:pt x="164" y="103"/>
                    <a:pt x="165" y="104"/>
                    <a:pt x="165" y="106"/>
                  </a:cubicBezTo>
                  <a:cubicBezTo>
                    <a:pt x="165" y="107"/>
                    <a:pt x="165" y="109"/>
                    <a:pt x="164" y="110"/>
                  </a:cubicBezTo>
                  <a:cubicBezTo>
                    <a:pt x="146" y="141"/>
                    <a:pt x="146" y="141"/>
                    <a:pt x="146" y="141"/>
                  </a:cubicBezTo>
                  <a:cubicBezTo>
                    <a:pt x="146" y="143"/>
                    <a:pt x="144" y="144"/>
                    <a:pt x="143" y="144"/>
                  </a:cubicBezTo>
                  <a:cubicBezTo>
                    <a:pt x="141" y="144"/>
                    <a:pt x="139" y="144"/>
                    <a:pt x="138" y="143"/>
                  </a:cubicBezTo>
                  <a:cubicBezTo>
                    <a:pt x="124" y="135"/>
                    <a:pt x="124" y="135"/>
                    <a:pt x="124" y="135"/>
                  </a:cubicBezTo>
                  <a:cubicBezTo>
                    <a:pt x="120" y="138"/>
                    <a:pt x="115" y="142"/>
                    <a:pt x="108" y="145"/>
                  </a:cubicBezTo>
                  <a:cubicBezTo>
                    <a:pt x="108" y="162"/>
                    <a:pt x="108" y="162"/>
                    <a:pt x="108" y="162"/>
                  </a:cubicBezTo>
                  <a:cubicBezTo>
                    <a:pt x="108" y="165"/>
                    <a:pt x="105" y="168"/>
                    <a:pt x="102" y="168"/>
                  </a:cubicBezTo>
                  <a:close/>
                  <a:moveTo>
                    <a:pt x="72" y="156"/>
                  </a:moveTo>
                  <a:cubicBezTo>
                    <a:pt x="96" y="156"/>
                    <a:pt x="96" y="156"/>
                    <a:pt x="96" y="156"/>
                  </a:cubicBezTo>
                  <a:cubicBezTo>
                    <a:pt x="96" y="141"/>
                    <a:pt x="96" y="141"/>
                    <a:pt x="96" y="141"/>
                  </a:cubicBezTo>
                  <a:cubicBezTo>
                    <a:pt x="96" y="139"/>
                    <a:pt x="97" y="136"/>
                    <a:pt x="100" y="135"/>
                  </a:cubicBezTo>
                  <a:cubicBezTo>
                    <a:pt x="109" y="131"/>
                    <a:pt x="115" y="127"/>
                    <a:pt x="120" y="123"/>
                  </a:cubicBezTo>
                  <a:cubicBezTo>
                    <a:pt x="122" y="122"/>
                    <a:pt x="125" y="121"/>
                    <a:pt x="127" y="123"/>
                  </a:cubicBezTo>
                  <a:cubicBezTo>
                    <a:pt x="139" y="130"/>
                    <a:pt x="139" y="130"/>
                    <a:pt x="139" y="130"/>
                  </a:cubicBezTo>
                  <a:cubicBezTo>
                    <a:pt x="151" y="109"/>
                    <a:pt x="151" y="109"/>
                    <a:pt x="151" y="109"/>
                  </a:cubicBezTo>
                  <a:cubicBezTo>
                    <a:pt x="138" y="102"/>
                    <a:pt x="138" y="102"/>
                    <a:pt x="138" y="102"/>
                  </a:cubicBezTo>
                  <a:cubicBezTo>
                    <a:pt x="136" y="101"/>
                    <a:pt x="135" y="98"/>
                    <a:pt x="135" y="95"/>
                  </a:cubicBezTo>
                  <a:cubicBezTo>
                    <a:pt x="137" y="87"/>
                    <a:pt x="137" y="80"/>
                    <a:pt x="135" y="72"/>
                  </a:cubicBezTo>
                  <a:cubicBezTo>
                    <a:pt x="135" y="69"/>
                    <a:pt x="136" y="67"/>
                    <a:pt x="138" y="65"/>
                  </a:cubicBezTo>
                  <a:cubicBezTo>
                    <a:pt x="151" y="58"/>
                    <a:pt x="151" y="58"/>
                    <a:pt x="151" y="58"/>
                  </a:cubicBezTo>
                  <a:cubicBezTo>
                    <a:pt x="139" y="37"/>
                    <a:pt x="139" y="37"/>
                    <a:pt x="139" y="37"/>
                  </a:cubicBezTo>
                  <a:cubicBezTo>
                    <a:pt x="127" y="45"/>
                    <a:pt x="127" y="45"/>
                    <a:pt x="127" y="45"/>
                  </a:cubicBezTo>
                  <a:cubicBezTo>
                    <a:pt x="125" y="46"/>
                    <a:pt x="122" y="46"/>
                    <a:pt x="120" y="44"/>
                  </a:cubicBezTo>
                  <a:cubicBezTo>
                    <a:pt x="116" y="40"/>
                    <a:pt x="109" y="36"/>
                    <a:pt x="100" y="32"/>
                  </a:cubicBezTo>
                  <a:cubicBezTo>
                    <a:pt x="97" y="31"/>
                    <a:pt x="96" y="29"/>
                    <a:pt x="96" y="26"/>
                  </a:cubicBezTo>
                  <a:cubicBezTo>
                    <a:pt x="96" y="12"/>
                    <a:pt x="96" y="12"/>
                    <a:pt x="96" y="12"/>
                  </a:cubicBezTo>
                  <a:cubicBezTo>
                    <a:pt x="72" y="12"/>
                    <a:pt x="72" y="12"/>
                    <a:pt x="72" y="12"/>
                  </a:cubicBezTo>
                  <a:cubicBezTo>
                    <a:pt x="72" y="26"/>
                    <a:pt x="72" y="26"/>
                    <a:pt x="72" y="26"/>
                  </a:cubicBezTo>
                  <a:cubicBezTo>
                    <a:pt x="72" y="29"/>
                    <a:pt x="70" y="32"/>
                    <a:pt x="67" y="32"/>
                  </a:cubicBezTo>
                  <a:cubicBezTo>
                    <a:pt x="57" y="35"/>
                    <a:pt x="53" y="38"/>
                    <a:pt x="47" y="44"/>
                  </a:cubicBezTo>
                  <a:cubicBezTo>
                    <a:pt x="45" y="45"/>
                    <a:pt x="42" y="46"/>
                    <a:pt x="40" y="45"/>
                  </a:cubicBezTo>
                  <a:cubicBezTo>
                    <a:pt x="27" y="37"/>
                    <a:pt x="27" y="37"/>
                    <a:pt x="27" y="37"/>
                  </a:cubicBezTo>
                  <a:cubicBezTo>
                    <a:pt x="14" y="58"/>
                    <a:pt x="14" y="58"/>
                    <a:pt x="14" y="58"/>
                  </a:cubicBezTo>
                  <a:cubicBezTo>
                    <a:pt x="27" y="65"/>
                    <a:pt x="27" y="65"/>
                    <a:pt x="27" y="65"/>
                  </a:cubicBezTo>
                  <a:cubicBezTo>
                    <a:pt x="29" y="67"/>
                    <a:pt x="31" y="69"/>
                    <a:pt x="30" y="72"/>
                  </a:cubicBezTo>
                  <a:cubicBezTo>
                    <a:pt x="28" y="80"/>
                    <a:pt x="28" y="88"/>
                    <a:pt x="30" y="95"/>
                  </a:cubicBezTo>
                  <a:cubicBezTo>
                    <a:pt x="31" y="98"/>
                    <a:pt x="29" y="101"/>
                    <a:pt x="27" y="102"/>
                  </a:cubicBezTo>
                  <a:cubicBezTo>
                    <a:pt x="14" y="109"/>
                    <a:pt x="14" y="109"/>
                    <a:pt x="14" y="109"/>
                  </a:cubicBezTo>
                  <a:cubicBezTo>
                    <a:pt x="26" y="130"/>
                    <a:pt x="26" y="130"/>
                    <a:pt x="26" y="130"/>
                  </a:cubicBezTo>
                  <a:cubicBezTo>
                    <a:pt x="40" y="123"/>
                    <a:pt x="40" y="123"/>
                    <a:pt x="40" y="123"/>
                  </a:cubicBezTo>
                  <a:cubicBezTo>
                    <a:pt x="42" y="121"/>
                    <a:pt x="45" y="122"/>
                    <a:pt x="47" y="123"/>
                  </a:cubicBezTo>
                  <a:cubicBezTo>
                    <a:pt x="53" y="129"/>
                    <a:pt x="57" y="133"/>
                    <a:pt x="67" y="135"/>
                  </a:cubicBezTo>
                  <a:cubicBezTo>
                    <a:pt x="70" y="136"/>
                    <a:pt x="72" y="138"/>
                    <a:pt x="72" y="141"/>
                  </a:cubicBezTo>
                  <a:lnTo>
                    <a:pt x="7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61" name="Freeform 64">
              <a:extLst>
                <a:ext uri="{FF2B5EF4-FFF2-40B4-BE49-F238E27FC236}">
                  <a16:creationId xmlns:a16="http://schemas.microsoft.com/office/drawing/2014/main" id="{7949AA08-1950-4A44-91C1-8E34BD10E503}"/>
                </a:ext>
              </a:extLst>
            </p:cNvPr>
            <p:cNvSpPr>
              <a:spLocks noEditPoints="1"/>
            </p:cNvSpPr>
            <p:nvPr/>
          </p:nvSpPr>
          <p:spPr bwMode="auto">
            <a:xfrm>
              <a:off x="490" y="1863"/>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62" name="Group 83">
            <a:extLst>
              <a:ext uri="{FF2B5EF4-FFF2-40B4-BE49-F238E27FC236}">
                <a16:creationId xmlns:a16="http://schemas.microsoft.com/office/drawing/2014/main" id="{EFF1C6C9-655D-274A-BF87-2269FFB3606F}"/>
              </a:ext>
            </a:extLst>
          </p:cNvPr>
          <p:cNvGrpSpPr>
            <a:grpSpLocks noChangeAspect="1"/>
          </p:cNvGrpSpPr>
          <p:nvPr userDrawn="1"/>
        </p:nvGrpSpPr>
        <p:grpSpPr bwMode="auto">
          <a:xfrm>
            <a:off x="10959261" y="4300132"/>
            <a:ext cx="479568" cy="490720"/>
            <a:chOff x="1580" y="1910"/>
            <a:chExt cx="387" cy="396"/>
          </a:xfrm>
          <a:solidFill>
            <a:schemeClr val="accent4"/>
          </a:solidFill>
        </p:grpSpPr>
        <p:sp>
          <p:nvSpPr>
            <p:cNvPr id="363" name="Freeform 84">
              <a:extLst>
                <a:ext uri="{FF2B5EF4-FFF2-40B4-BE49-F238E27FC236}">
                  <a16:creationId xmlns:a16="http://schemas.microsoft.com/office/drawing/2014/main" id="{A5BD3BA6-1E5D-A147-A5E7-38A35AFB2FB8}"/>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4" name="Freeform 85">
              <a:extLst>
                <a:ext uri="{FF2B5EF4-FFF2-40B4-BE49-F238E27FC236}">
                  <a16:creationId xmlns:a16="http://schemas.microsoft.com/office/drawing/2014/main" id="{16B4A2A5-EFF3-D844-8BFB-D9FC0A674E57}"/>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5" name="Freeform 86">
              <a:extLst>
                <a:ext uri="{FF2B5EF4-FFF2-40B4-BE49-F238E27FC236}">
                  <a16:creationId xmlns:a16="http://schemas.microsoft.com/office/drawing/2014/main" id="{01032911-E44E-6A44-B3AE-2C20E895BDF1}"/>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6" name="Freeform 87">
              <a:extLst>
                <a:ext uri="{FF2B5EF4-FFF2-40B4-BE49-F238E27FC236}">
                  <a16:creationId xmlns:a16="http://schemas.microsoft.com/office/drawing/2014/main" id="{329745C6-8CE0-9B43-A51F-DC7EC13E0A91}"/>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7" name="Freeform 88">
              <a:extLst>
                <a:ext uri="{FF2B5EF4-FFF2-40B4-BE49-F238E27FC236}">
                  <a16:creationId xmlns:a16="http://schemas.microsoft.com/office/drawing/2014/main" id="{8FA27E58-1649-0041-A7D0-1488B173F455}"/>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8" name="Freeform 89">
              <a:extLst>
                <a:ext uri="{FF2B5EF4-FFF2-40B4-BE49-F238E27FC236}">
                  <a16:creationId xmlns:a16="http://schemas.microsoft.com/office/drawing/2014/main" id="{09F7C906-F808-E349-BEC7-3B3085AFF7F7}"/>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69" name="Freeform 90">
              <a:extLst>
                <a:ext uri="{FF2B5EF4-FFF2-40B4-BE49-F238E27FC236}">
                  <a16:creationId xmlns:a16="http://schemas.microsoft.com/office/drawing/2014/main" id="{7A702297-D13A-8649-B1E4-169139C5B88C}"/>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70" name="Freeform 91">
              <a:extLst>
                <a:ext uri="{FF2B5EF4-FFF2-40B4-BE49-F238E27FC236}">
                  <a16:creationId xmlns:a16="http://schemas.microsoft.com/office/drawing/2014/main" id="{B529D1D4-ACB6-4044-80CA-AB16AF0C4585}"/>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US"/>
            </a:p>
          </p:txBody>
        </p:sp>
      </p:grpSp>
      <p:grpSp>
        <p:nvGrpSpPr>
          <p:cNvPr id="371" name="Group 56">
            <a:extLst>
              <a:ext uri="{FF2B5EF4-FFF2-40B4-BE49-F238E27FC236}">
                <a16:creationId xmlns:a16="http://schemas.microsoft.com/office/drawing/2014/main" id="{754010E9-6578-4145-B63E-FE551FCF0B38}"/>
              </a:ext>
            </a:extLst>
          </p:cNvPr>
          <p:cNvGrpSpPr>
            <a:grpSpLocks noChangeAspect="1"/>
          </p:cNvGrpSpPr>
          <p:nvPr userDrawn="1"/>
        </p:nvGrpSpPr>
        <p:grpSpPr bwMode="auto">
          <a:xfrm>
            <a:off x="8400111" y="1923077"/>
            <a:ext cx="513762" cy="513760"/>
            <a:chOff x="6721" y="600"/>
            <a:chExt cx="426" cy="426"/>
          </a:xfrm>
          <a:solidFill>
            <a:schemeClr val="accent4"/>
          </a:solidFill>
        </p:grpSpPr>
        <p:sp>
          <p:nvSpPr>
            <p:cNvPr id="372" name="Freeform 57">
              <a:extLst>
                <a:ext uri="{FF2B5EF4-FFF2-40B4-BE49-F238E27FC236}">
                  <a16:creationId xmlns:a16="http://schemas.microsoft.com/office/drawing/2014/main" id="{E54CC8A3-2BE8-4348-8408-7A6C774ED71C}"/>
                </a:ext>
              </a:extLst>
            </p:cNvPr>
            <p:cNvSpPr>
              <a:spLocks/>
            </p:cNvSpPr>
            <p:nvPr/>
          </p:nvSpPr>
          <p:spPr bwMode="auto">
            <a:xfrm>
              <a:off x="6721" y="600"/>
              <a:ext cx="426" cy="426"/>
            </a:xfrm>
            <a:custGeom>
              <a:avLst/>
              <a:gdLst>
                <a:gd name="T0" fmla="*/ 144 w 288"/>
                <a:gd name="T1" fmla="*/ 288 h 288"/>
                <a:gd name="T2" fmla="*/ 0 w 288"/>
                <a:gd name="T3" fmla="*/ 144 h 288"/>
                <a:gd name="T4" fmla="*/ 144 w 288"/>
                <a:gd name="T5" fmla="*/ 0 h 288"/>
                <a:gd name="T6" fmla="*/ 288 w 288"/>
                <a:gd name="T7" fmla="*/ 144 h 288"/>
                <a:gd name="T8" fmla="*/ 282 w 288"/>
                <a:gd name="T9" fmla="*/ 150 h 288"/>
                <a:gd name="T10" fmla="*/ 276 w 288"/>
                <a:gd name="T11" fmla="*/ 144 h 288"/>
                <a:gd name="T12" fmla="*/ 144 w 288"/>
                <a:gd name="T13" fmla="*/ 12 h 288"/>
                <a:gd name="T14" fmla="*/ 12 w 288"/>
                <a:gd name="T15" fmla="*/ 144 h 288"/>
                <a:gd name="T16" fmla="*/ 144 w 288"/>
                <a:gd name="T17" fmla="*/ 276 h 288"/>
                <a:gd name="T18" fmla="*/ 190 w 288"/>
                <a:gd name="T19" fmla="*/ 268 h 288"/>
                <a:gd name="T20" fmla="*/ 198 w 288"/>
                <a:gd name="T21" fmla="*/ 272 h 288"/>
                <a:gd name="T22" fmla="*/ 194 w 288"/>
                <a:gd name="T23" fmla="*/ 280 h 288"/>
                <a:gd name="T24" fmla="*/ 144 w 288"/>
                <a:gd name="T2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 h="288">
                  <a:moveTo>
                    <a:pt x="144" y="288"/>
                  </a:moveTo>
                  <a:cubicBezTo>
                    <a:pt x="65" y="288"/>
                    <a:pt x="0" y="224"/>
                    <a:pt x="0" y="144"/>
                  </a:cubicBezTo>
                  <a:cubicBezTo>
                    <a:pt x="0" y="65"/>
                    <a:pt x="65" y="0"/>
                    <a:pt x="144" y="0"/>
                  </a:cubicBezTo>
                  <a:cubicBezTo>
                    <a:pt x="224" y="0"/>
                    <a:pt x="288" y="65"/>
                    <a:pt x="288" y="144"/>
                  </a:cubicBezTo>
                  <a:cubicBezTo>
                    <a:pt x="288" y="148"/>
                    <a:pt x="286" y="150"/>
                    <a:pt x="282" y="150"/>
                  </a:cubicBezTo>
                  <a:cubicBezTo>
                    <a:pt x="279" y="150"/>
                    <a:pt x="276" y="148"/>
                    <a:pt x="276" y="144"/>
                  </a:cubicBezTo>
                  <a:cubicBezTo>
                    <a:pt x="276" y="71"/>
                    <a:pt x="217" y="12"/>
                    <a:pt x="144" y="12"/>
                  </a:cubicBezTo>
                  <a:cubicBezTo>
                    <a:pt x="72" y="12"/>
                    <a:pt x="12" y="71"/>
                    <a:pt x="12" y="144"/>
                  </a:cubicBezTo>
                  <a:cubicBezTo>
                    <a:pt x="12" y="217"/>
                    <a:pt x="72" y="276"/>
                    <a:pt x="144" y="276"/>
                  </a:cubicBezTo>
                  <a:cubicBezTo>
                    <a:pt x="160" y="276"/>
                    <a:pt x="175" y="274"/>
                    <a:pt x="190" y="268"/>
                  </a:cubicBezTo>
                  <a:cubicBezTo>
                    <a:pt x="193" y="267"/>
                    <a:pt x="196" y="269"/>
                    <a:pt x="198" y="272"/>
                  </a:cubicBezTo>
                  <a:cubicBezTo>
                    <a:pt x="199" y="275"/>
                    <a:pt x="197" y="278"/>
                    <a:pt x="194" y="280"/>
                  </a:cubicBezTo>
                  <a:cubicBezTo>
                    <a:pt x="178" y="285"/>
                    <a:pt x="161" y="288"/>
                    <a:pt x="144"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3" name="Freeform 58">
              <a:extLst>
                <a:ext uri="{FF2B5EF4-FFF2-40B4-BE49-F238E27FC236}">
                  <a16:creationId xmlns:a16="http://schemas.microsoft.com/office/drawing/2014/main" id="{468ADAAF-C6DA-A647-AC52-16E1AB8E8D5B}"/>
                </a:ext>
              </a:extLst>
            </p:cNvPr>
            <p:cNvSpPr>
              <a:spLocks noEditPoints="1"/>
            </p:cNvSpPr>
            <p:nvPr/>
          </p:nvSpPr>
          <p:spPr bwMode="auto">
            <a:xfrm>
              <a:off x="6987" y="813"/>
              <a:ext cx="160" cy="213"/>
            </a:xfrm>
            <a:custGeom>
              <a:avLst/>
              <a:gdLst>
                <a:gd name="T0" fmla="*/ 54 w 108"/>
                <a:gd name="T1" fmla="*/ 144 h 144"/>
                <a:gd name="T2" fmla="*/ 50 w 108"/>
                <a:gd name="T3" fmla="*/ 142 h 144"/>
                <a:gd name="T4" fmla="*/ 0 w 108"/>
                <a:gd name="T5" fmla="*/ 54 h 144"/>
                <a:gd name="T6" fmla="*/ 54 w 108"/>
                <a:gd name="T7" fmla="*/ 0 h 144"/>
                <a:gd name="T8" fmla="*/ 108 w 108"/>
                <a:gd name="T9" fmla="*/ 54 h 144"/>
                <a:gd name="T10" fmla="*/ 59 w 108"/>
                <a:gd name="T11" fmla="*/ 142 h 144"/>
                <a:gd name="T12" fmla="*/ 54 w 108"/>
                <a:gd name="T13" fmla="*/ 144 h 144"/>
                <a:gd name="T14" fmla="*/ 54 w 108"/>
                <a:gd name="T15" fmla="*/ 12 h 144"/>
                <a:gd name="T16" fmla="*/ 12 w 108"/>
                <a:gd name="T17" fmla="*/ 54 h 144"/>
                <a:gd name="T18" fmla="*/ 54 w 108"/>
                <a:gd name="T19" fmla="*/ 129 h 144"/>
                <a:gd name="T20" fmla="*/ 96 w 108"/>
                <a:gd name="T21" fmla="*/ 54 h 144"/>
                <a:gd name="T22" fmla="*/ 54 w 108"/>
                <a:gd name="T2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4">
                  <a:moveTo>
                    <a:pt x="54" y="144"/>
                  </a:moveTo>
                  <a:cubicBezTo>
                    <a:pt x="53" y="144"/>
                    <a:pt x="51" y="143"/>
                    <a:pt x="50" y="142"/>
                  </a:cubicBezTo>
                  <a:cubicBezTo>
                    <a:pt x="45" y="136"/>
                    <a:pt x="0" y="82"/>
                    <a:pt x="0" y="54"/>
                  </a:cubicBezTo>
                  <a:cubicBezTo>
                    <a:pt x="0" y="24"/>
                    <a:pt x="25" y="0"/>
                    <a:pt x="54" y="0"/>
                  </a:cubicBezTo>
                  <a:cubicBezTo>
                    <a:pt x="84" y="0"/>
                    <a:pt x="108" y="24"/>
                    <a:pt x="108" y="54"/>
                  </a:cubicBezTo>
                  <a:cubicBezTo>
                    <a:pt x="108" y="82"/>
                    <a:pt x="64" y="136"/>
                    <a:pt x="59" y="142"/>
                  </a:cubicBezTo>
                  <a:cubicBezTo>
                    <a:pt x="58" y="143"/>
                    <a:pt x="56" y="144"/>
                    <a:pt x="54" y="144"/>
                  </a:cubicBezTo>
                  <a:close/>
                  <a:moveTo>
                    <a:pt x="54" y="12"/>
                  </a:moveTo>
                  <a:cubicBezTo>
                    <a:pt x="31" y="12"/>
                    <a:pt x="12" y="31"/>
                    <a:pt x="12" y="54"/>
                  </a:cubicBezTo>
                  <a:cubicBezTo>
                    <a:pt x="12" y="72"/>
                    <a:pt x="40" y="110"/>
                    <a:pt x="54" y="129"/>
                  </a:cubicBezTo>
                  <a:cubicBezTo>
                    <a:pt x="69" y="110"/>
                    <a:pt x="96" y="72"/>
                    <a:pt x="96" y="54"/>
                  </a:cubicBezTo>
                  <a:cubicBezTo>
                    <a:pt x="96" y="31"/>
                    <a:pt x="78" y="12"/>
                    <a:pt x="5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4" name="Freeform 59">
              <a:extLst>
                <a:ext uri="{FF2B5EF4-FFF2-40B4-BE49-F238E27FC236}">
                  <a16:creationId xmlns:a16="http://schemas.microsoft.com/office/drawing/2014/main" id="{1D2D45F1-2BA4-144E-BFD4-CF2AE4D806EF}"/>
                </a:ext>
              </a:extLst>
            </p:cNvPr>
            <p:cNvSpPr>
              <a:spLocks noEditPoints="1"/>
            </p:cNvSpPr>
            <p:nvPr/>
          </p:nvSpPr>
          <p:spPr bwMode="auto">
            <a:xfrm>
              <a:off x="7032" y="85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8" y="0"/>
                    <a:pt x="48" y="11"/>
                    <a:pt x="48" y="24"/>
                  </a:cubicBezTo>
                  <a:cubicBezTo>
                    <a:pt x="48" y="37"/>
                    <a:pt x="38" y="48"/>
                    <a:pt x="24" y="48"/>
                  </a:cubicBezTo>
                  <a:close/>
                  <a:moveTo>
                    <a:pt x="24" y="12"/>
                  </a:moveTo>
                  <a:cubicBezTo>
                    <a:pt x="18" y="12"/>
                    <a:pt x="12" y="18"/>
                    <a:pt x="12" y="24"/>
                  </a:cubicBezTo>
                  <a:cubicBezTo>
                    <a:pt x="12" y="31"/>
                    <a:pt x="18" y="36"/>
                    <a:pt x="24" y="36"/>
                  </a:cubicBezTo>
                  <a:cubicBezTo>
                    <a:pt x="31" y="36"/>
                    <a:pt x="36" y="31"/>
                    <a:pt x="36" y="24"/>
                  </a:cubicBezTo>
                  <a:cubicBezTo>
                    <a:pt x="36" y="18"/>
                    <a:pt x="31" y="12"/>
                    <a:pt x="24"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5" name="Freeform 60">
              <a:extLst>
                <a:ext uri="{FF2B5EF4-FFF2-40B4-BE49-F238E27FC236}">
                  <a16:creationId xmlns:a16="http://schemas.microsoft.com/office/drawing/2014/main" id="{B9008D23-F674-6448-903D-C3B5D32E5D05}"/>
                </a:ext>
              </a:extLst>
            </p:cNvPr>
            <p:cNvSpPr>
              <a:spLocks/>
            </p:cNvSpPr>
            <p:nvPr/>
          </p:nvSpPr>
          <p:spPr bwMode="auto">
            <a:xfrm>
              <a:off x="6792" y="607"/>
              <a:ext cx="213" cy="313"/>
            </a:xfrm>
            <a:custGeom>
              <a:avLst/>
              <a:gdLst>
                <a:gd name="T0" fmla="*/ 66 w 144"/>
                <a:gd name="T1" fmla="*/ 211 h 211"/>
                <a:gd name="T2" fmla="*/ 60 w 144"/>
                <a:gd name="T3" fmla="*/ 205 h 211"/>
                <a:gd name="T4" fmla="*/ 60 w 144"/>
                <a:gd name="T5" fmla="*/ 178 h 211"/>
                <a:gd name="T6" fmla="*/ 3 w 144"/>
                <a:gd name="T7" fmla="*/ 132 h 211"/>
                <a:gd name="T8" fmla="*/ 1 w 144"/>
                <a:gd name="T9" fmla="*/ 124 h 211"/>
                <a:gd name="T10" fmla="*/ 28 w 144"/>
                <a:gd name="T11" fmla="*/ 82 h 211"/>
                <a:gd name="T12" fmla="*/ 33 w 144"/>
                <a:gd name="T13" fmla="*/ 79 h 211"/>
                <a:gd name="T14" fmla="*/ 96 w 144"/>
                <a:gd name="T15" fmla="*/ 79 h 211"/>
                <a:gd name="T16" fmla="*/ 96 w 144"/>
                <a:gd name="T17" fmla="*/ 52 h 211"/>
                <a:gd name="T18" fmla="*/ 81 w 144"/>
                <a:gd name="T19" fmla="*/ 42 h 211"/>
                <a:gd name="T20" fmla="*/ 78 w 144"/>
                <a:gd name="T21" fmla="*/ 37 h 211"/>
                <a:gd name="T22" fmla="*/ 81 w 144"/>
                <a:gd name="T23" fmla="*/ 32 h 211"/>
                <a:gd name="T24" fmla="*/ 134 w 144"/>
                <a:gd name="T25" fmla="*/ 2 h 211"/>
                <a:gd name="T26" fmla="*/ 142 w 144"/>
                <a:gd name="T27" fmla="*/ 4 h 211"/>
                <a:gd name="T28" fmla="*/ 140 w 144"/>
                <a:gd name="T29" fmla="*/ 12 h 211"/>
                <a:gd name="T30" fmla="*/ 96 w 144"/>
                <a:gd name="T31" fmla="*/ 38 h 211"/>
                <a:gd name="T32" fmla="*/ 106 w 144"/>
                <a:gd name="T33" fmla="*/ 44 h 211"/>
                <a:gd name="T34" fmla="*/ 108 w 144"/>
                <a:gd name="T35" fmla="*/ 49 h 211"/>
                <a:gd name="T36" fmla="*/ 108 w 144"/>
                <a:gd name="T37" fmla="*/ 85 h 211"/>
                <a:gd name="T38" fmla="*/ 102 w 144"/>
                <a:gd name="T39" fmla="*/ 91 h 211"/>
                <a:gd name="T40" fmla="*/ 37 w 144"/>
                <a:gd name="T41" fmla="*/ 91 h 211"/>
                <a:gd name="T42" fmla="*/ 14 w 144"/>
                <a:gd name="T43" fmla="*/ 126 h 211"/>
                <a:gd name="T44" fmla="*/ 70 w 144"/>
                <a:gd name="T45" fmla="*/ 171 h 211"/>
                <a:gd name="T46" fmla="*/ 72 w 144"/>
                <a:gd name="T47" fmla="*/ 175 h 211"/>
                <a:gd name="T48" fmla="*/ 72 w 144"/>
                <a:gd name="T49" fmla="*/ 205 h 211"/>
                <a:gd name="T50" fmla="*/ 66 w 144"/>
                <a:gd name="T5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211">
                  <a:moveTo>
                    <a:pt x="66" y="211"/>
                  </a:moveTo>
                  <a:cubicBezTo>
                    <a:pt x="63" y="211"/>
                    <a:pt x="60" y="209"/>
                    <a:pt x="60" y="205"/>
                  </a:cubicBezTo>
                  <a:cubicBezTo>
                    <a:pt x="60" y="178"/>
                    <a:pt x="60" y="178"/>
                    <a:pt x="60" y="178"/>
                  </a:cubicBezTo>
                  <a:cubicBezTo>
                    <a:pt x="3" y="132"/>
                    <a:pt x="3" y="132"/>
                    <a:pt x="3" y="132"/>
                  </a:cubicBezTo>
                  <a:cubicBezTo>
                    <a:pt x="0" y="130"/>
                    <a:pt x="0" y="127"/>
                    <a:pt x="1" y="124"/>
                  </a:cubicBezTo>
                  <a:cubicBezTo>
                    <a:pt x="28" y="82"/>
                    <a:pt x="28" y="82"/>
                    <a:pt x="28" y="82"/>
                  </a:cubicBezTo>
                  <a:cubicBezTo>
                    <a:pt x="30" y="80"/>
                    <a:pt x="31" y="79"/>
                    <a:pt x="33" y="79"/>
                  </a:cubicBezTo>
                  <a:cubicBezTo>
                    <a:pt x="96" y="79"/>
                    <a:pt x="96" y="79"/>
                    <a:pt x="96" y="79"/>
                  </a:cubicBezTo>
                  <a:cubicBezTo>
                    <a:pt x="96" y="52"/>
                    <a:pt x="96" y="52"/>
                    <a:pt x="96" y="52"/>
                  </a:cubicBezTo>
                  <a:cubicBezTo>
                    <a:pt x="81" y="42"/>
                    <a:pt x="81" y="42"/>
                    <a:pt x="81" y="42"/>
                  </a:cubicBezTo>
                  <a:cubicBezTo>
                    <a:pt x="79" y="41"/>
                    <a:pt x="78" y="39"/>
                    <a:pt x="78" y="37"/>
                  </a:cubicBezTo>
                  <a:cubicBezTo>
                    <a:pt x="79" y="35"/>
                    <a:pt x="80" y="33"/>
                    <a:pt x="81" y="32"/>
                  </a:cubicBezTo>
                  <a:cubicBezTo>
                    <a:pt x="134" y="2"/>
                    <a:pt x="134" y="2"/>
                    <a:pt x="134" y="2"/>
                  </a:cubicBezTo>
                  <a:cubicBezTo>
                    <a:pt x="137" y="0"/>
                    <a:pt x="140" y="1"/>
                    <a:pt x="142" y="4"/>
                  </a:cubicBezTo>
                  <a:cubicBezTo>
                    <a:pt x="144" y="7"/>
                    <a:pt x="143" y="11"/>
                    <a:pt x="140" y="12"/>
                  </a:cubicBezTo>
                  <a:cubicBezTo>
                    <a:pt x="96" y="38"/>
                    <a:pt x="96" y="38"/>
                    <a:pt x="96" y="38"/>
                  </a:cubicBezTo>
                  <a:cubicBezTo>
                    <a:pt x="106" y="44"/>
                    <a:pt x="106" y="44"/>
                    <a:pt x="106" y="44"/>
                  </a:cubicBezTo>
                  <a:cubicBezTo>
                    <a:pt x="107" y="45"/>
                    <a:pt x="108" y="47"/>
                    <a:pt x="108" y="49"/>
                  </a:cubicBezTo>
                  <a:cubicBezTo>
                    <a:pt x="108" y="85"/>
                    <a:pt x="108" y="85"/>
                    <a:pt x="108" y="85"/>
                  </a:cubicBezTo>
                  <a:cubicBezTo>
                    <a:pt x="108" y="89"/>
                    <a:pt x="106" y="91"/>
                    <a:pt x="102" y="91"/>
                  </a:cubicBezTo>
                  <a:cubicBezTo>
                    <a:pt x="37" y="91"/>
                    <a:pt x="37" y="91"/>
                    <a:pt x="37" y="91"/>
                  </a:cubicBezTo>
                  <a:cubicBezTo>
                    <a:pt x="14" y="126"/>
                    <a:pt x="14" y="126"/>
                    <a:pt x="14" y="126"/>
                  </a:cubicBezTo>
                  <a:cubicBezTo>
                    <a:pt x="70" y="171"/>
                    <a:pt x="70" y="171"/>
                    <a:pt x="70" y="171"/>
                  </a:cubicBezTo>
                  <a:cubicBezTo>
                    <a:pt x="72" y="172"/>
                    <a:pt x="72" y="173"/>
                    <a:pt x="72" y="175"/>
                  </a:cubicBezTo>
                  <a:cubicBezTo>
                    <a:pt x="72" y="205"/>
                    <a:pt x="72" y="205"/>
                    <a:pt x="72" y="205"/>
                  </a:cubicBezTo>
                  <a:cubicBezTo>
                    <a:pt x="72" y="209"/>
                    <a:pt x="70" y="211"/>
                    <a:pt x="66" y="2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sp>
          <p:nvSpPr>
            <p:cNvPr id="376" name="Freeform 61">
              <a:extLst>
                <a:ext uri="{FF2B5EF4-FFF2-40B4-BE49-F238E27FC236}">
                  <a16:creationId xmlns:a16="http://schemas.microsoft.com/office/drawing/2014/main" id="{81B4FE17-16E8-1D46-A84D-C61DF767FCAD}"/>
                </a:ext>
              </a:extLst>
            </p:cNvPr>
            <p:cNvSpPr>
              <a:spLocks/>
            </p:cNvSpPr>
            <p:nvPr/>
          </p:nvSpPr>
          <p:spPr bwMode="auto">
            <a:xfrm>
              <a:off x="6983" y="665"/>
              <a:ext cx="112" cy="108"/>
            </a:xfrm>
            <a:custGeom>
              <a:avLst/>
              <a:gdLst>
                <a:gd name="T0" fmla="*/ 6 w 76"/>
                <a:gd name="T1" fmla="*/ 73 h 73"/>
                <a:gd name="T2" fmla="*/ 2 w 76"/>
                <a:gd name="T3" fmla="*/ 71 h 73"/>
                <a:gd name="T4" fmla="*/ 2 w 76"/>
                <a:gd name="T5" fmla="*/ 63 h 73"/>
                <a:gd name="T6" fmla="*/ 23 w 76"/>
                <a:gd name="T7" fmla="*/ 42 h 73"/>
                <a:gd name="T8" fmla="*/ 27 w 76"/>
                <a:gd name="T9" fmla="*/ 40 h 73"/>
                <a:gd name="T10" fmla="*/ 45 w 76"/>
                <a:gd name="T11" fmla="*/ 40 h 73"/>
                <a:gd name="T12" fmla="*/ 64 w 76"/>
                <a:gd name="T13" fmla="*/ 4 h 73"/>
                <a:gd name="T14" fmla="*/ 72 w 76"/>
                <a:gd name="T15" fmla="*/ 2 h 73"/>
                <a:gd name="T16" fmla="*/ 75 w 76"/>
                <a:gd name="T17" fmla="*/ 10 h 73"/>
                <a:gd name="T18" fmla="*/ 54 w 76"/>
                <a:gd name="T19" fmla="*/ 49 h 73"/>
                <a:gd name="T20" fmla="*/ 48 w 76"/>
                <a:gd name="T21" fmla="*/ 52 h 73"/>
                <a:gd name="T22" fmla="*/ 30 w 76"/>
                <a:gd name="T23" fmla="*/ 52 h 73"/>
                <a:gd name="T24" fmla="*/ 11 w 76"/>
                <a:gd name="T25" fmla="*/ 71 h 73"/>
                <a:gd name="T26" fmla="*/ 6 w 76"/>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3">
                  <a:moveTo>
                    <a:pt x="6" y="73"/>
                  </a:moveTo>
                  <a:cubicBezTo>
                    <a:pt x="5" y="73"/>
                    <a:pt x="3" y="73"/>
                    <a:pt x="2" y="71"/>
                  </a:cubicBezTo>
                  <a:cubicBezTo>
                    <a:pt x="0" y="69"/>
                    <a:pt x="0" y="65"/>
                    <a:pt x="2" y="63"/>
                  </a:cubicBezTo>
                  <a:cubicBezTo>
                    <a:pt x="23" y="42"/>
                    <a:pt x="23" y="42"/>
                    <a:pt x="23" y="42"/>
                  </a:cubicBezTo>
                  <a:cubicBezTo>
                    <a:pt x="24" y="41"/>
                    <a:pt x="26" y="40"/>
                    <a:pt x="27" y="40"/>
                  </a:cubicBezTo>
                  <a:cubicBezTo>
                    <a:pt x="45" y="40"/>
                    <a:pt x="45" y="40"/>
                    <a:pt x="45" y="40"/>
                  </a:cubicBezTo>
                  <a:cubicBezTo>
                    <a:pt x="64" y="4"/>
                    <a:pt x="64" y="4"/>
                    <a:pt x="64" y="4"/>
                  </a:cubicBezTo>
                  <a:cubicBezTo>
                    <a:pt x="66" y="2"/>
                    <a:pt x="69" y="0"/>
                    <a:pt x="72" y="2"/>
                  </a:cubicBezTo>
                  <a:cubicBezTo>
                    <a:pt x="75" y="4"/>
                    <a:pt x="76" y="7"/>
                    <a:pt x="75" y="10"/>
                  </a:cubicBezTo>
                  <a:cubicBezTo>
                    <a:pt x="54" y="49"/>
                    <a:pt x="54" y="49"/>
                    <a:pt x="54" y="49"/>
                  </a:cubicBezTo>
                  <a:cubicBezTo>
                    <a:pt x="53" y="51"/>
                    <a:pt x="51" y="52"/>
                    <a:pt x="48" y="52"/>
                  </a:cubicBezTo>
                  <a:cubicBezTo>
                    <a:pt x="30" y="52"/>
                    <a:pt x="30" y="52"/>
                    <a:pt x="30" y="52"/>
                  </a:cubicBezTo>
                  <a:cubicBezTo>
                    <a:pt x="11" y="71"/>
                    <a:pt x="11" y="71"/>
                    <a:pt x="11" y="71"/>
                  </a:cubicBezTo>
                  <a:cubicBezTo>
                    <a:pt x="10" y="73"/>
                    <a:pt x="8" y="73"/>
                    <a:pt x="6" y="7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lvl="0"/>
              <a:endParaRPr lang="en-AU"/>
            </a:p>
          </p:txBody>
        </p:sp>
      </p:grpSp>
      <p:sp>
        <p:nvSpPr>
          <p:cNvPr id="5" name="TextBox 4">
            <a:extLst>
              <a:ext uri="{FF2B5EF4-FFF2-40B4-BE49-F238E27FC236}">
                <a16:creationId xmlns:a16="http://schemas.microsoft.com/office/drawing/2014/main" id="{F6439B37-7E18-2D43-9C03-BCA23C9C27E0}"/>
              </a:ext>
            </a:extLst>
          </p:cNvPr>
          <p:cNvSpPr txBox="1"/>
          <p:nvPr userDrawn="1"/>
        </p:nvSpPr>
        <p:spPr>
          <a:xfrm>
            <a:off x="4732020" y="208026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46254311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Thank you</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1851201780"/>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8_Quote_ImageDark">
    <p:bg>
      <p:bgPr>
        <a:gradFill>
          <a:gsLst>
            <a:gs pos="83000">
              <a:srgbClr val="5F0095">
                <a:lumMod val="96000"/>
              </a:srgbClr>
            </a:gs>
            <a:gs pos="0">
              <a:srgbClr val="A100FF"/>
            </a:gs>
          </a:gsLst>
          <a:lin ang="2700000" scaled="0"/>
        </a:gra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lang="en-US">
                <a:solidFill>
                  <a:srgbClr val="FFFFFF">
                    <a:alpha val="50000"/>
                  </a:srgbClr>
                </a:solidFill>
              </a:rPr>
              <a:t>Copyright @ 2021 Accenture. All rights reserved</a:t>
            </a:r>
            <a:endParaRPr lang="en-AU">
              <a:solidFill>
                <a:srgbClr val="FFFFFF">
                  <a:alpha val="50000"/>
                </a:srgbClr>
              </a:solidFill>
            </a:endParaRPr>
          </a:p>
        </p:txBody>
      </p:sp>
      <p:sp>
        <p:nvSpPr>
          <p:cNvPr id="7" name="Slide Number Placeholder 6"/>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15" name="Title 1"/>
          <p:cNvSpPr>
            <a:spLocks noGrp="1"/>
          </p:cNvSpPr>
          <p:nvPr>
            <p:ph type="title" hasCustomPrompt="1"/>
          </p:nvPr>
        </p:nvSpPr>
        <p:spPr>
          <a:xfrm>
            <a:off x="355741" y="1287578"/>
            <a:ext cx="5582180" cy="1731199"/>
          </a:xfrm>
        </p:spPr>
        <p:txBody>
          <a:bodyPr tIns="0" anchor="b" anchorCtr="0"/>
          <a:lstStyle>
            <a:lvl1pPr marL="0" indent="0" algn="l" rtl="0" eaLnBrk="1" fontAlgn="base" hangingPunct="1">
              <a:lnSpc>
                <a:spcPct val="80000"/>
              </a:lnSpc>
              <a:spcBef>
                <a:spcPts val="0"/>
              </a:spcBef>
              <a:spcAft>
                <a:spcPct val="0"/>
              </a:spcAft>
              <a:buFont typeface="Arial" pitchFamily="34" charset="0"/>
              <a:buNone/>
              <a:defRPr lang="en-AU" sz="2799" b="0" kern="1200" cap="all" baseline="0" dirty="0">
                <a:solidFill>
                  <a:schemeClr val="bg1"/>
                </a:solidFill>
                <a:latin typeface="Arial Black" panose="020B0A04020102020204" pitchFamily="34" charset="0"/>
                <a:ea typeface="Roboto" panose="02000000000000000000" pitchFamily="2" charset="0"/>
                <a:cs typeface="Arial" panose="020B0604020202020204" pitchFamily="34" charset="0"/>
              </a:defRPr>
            </a:lvl1pPr>
          </a:lstStyle>
          <a:p>
            <a:r>
              <a:rPr lang="en-US"/>
              <a:t>INSERT QUOTE at 28pt min 36pt MAX 3 LINES     AS OLESTOTATE CON RAERUM ES INI EREPUDI ODIT EHENDIAM EUM.</a:t>
            </a:r>
          </a:p>
        </p:txBody>
      </p:sp>
      <p:sp>
        <p:nvSpPr>
          <p:cNvPr id="16" name="Text Placeholder 4"/>
          <p:cNvSpPr>
            <a:spLocks noGrp="1"/>
          </p:cNvSpPr>
          <p:nvPr>
            <p:ph type="body" sz="quarter" idx="12" hasCustomPrompt="1"/>
          </p:nvPr>
        </p:nvSpPr>
        <p:spPr>
          <a:xfrm>
            <a:off x="1792702" y="3276929"/>
            <a:ext cx="4145219" cy="664643"/>
          </a:xfrm>
        </p:spPr>
        <p:txBody>
          <a:bodyPr>
            <a:spAutoFit/>
          </a:bodyPr>
          <a:lstStyle>
            <a:lvl1pPr marL="0" marR="0" indent="0" algn="l" defTabSz="914217" rtl="0" eaLnBrk="1" fontAlgn="base" latinLnBrk="0" hangingPunct="1">
              <a:lnSpc>
                <a:spcPct val="90000"/>
              </a:lnSpc>
              <a:spcBef>
                <a:spcPts val="0"/>
              </a:spcBef>
              <a:spcAft>
                <a:spcPct val="0"/>
              </a:spcAft>
              <a:buClrTx/>
              <a:buSzTx/>
              <a:buFont typeface="Arial" pitchFamily="34" charset="0"/>
              <a:buNone/>
              <a:tabLst/>
              <a:defRPr lang="en-US" sz="1600" b="0" kern="1200" cap="all" baseline="0" dirty="0">
                <a:solidFill>
                  <a:schemeClr val="bg1"/>
                </a:solidFill>
                <a:latin typeface="+mj-lt"/>
                <a:ea typeface="Roboto" panose="02000000000000000000" pitchFamily="2" charset="0"/>
                <a:cs typeface="Arial" panose="020B0604020202020204" pitchFamily="34" charset="0"/>
              </a:defRPr>
            </a:lvl1pPr>
          </a:lstStyle>
          <a:p>
            <a:r>
              <a:rPr lang="en-US"/>
              <a:t>INSERT AUTHOR’S DETAILS HERE. UPPERCASE, maximum 3 lines </a:t>
            </a:r>
            <a:br>
              <a:rPr lang="en-US"/>
            </a:br>
            <a:r>
              <a:rPr lang="en-US"/>
              <a:t>AT 16PT, MINIMUM 14PT. </a:t>
            </a:r>
          </a:p>
        </p:txBody>
      </p:sp>
    </p:spTree>
    <p:extLst>
      <p:ext uri="{BB962C8B-B14F-4D97-AF65-F5344CB8AC3E}">
        <p14:creationId xmlns:p14="http://schemas.microsoft.com/office/powerpoint/2010/main" val="37887871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21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566057"/>
            <a:ext cx="5715000" cy="990601"/>
          </a:xfrm>
        </p:spPr>
        <p:txBody>
          <a:bodyPr>
            <a:normAutofit/>
          </a:bodyPr>
          <a:lstStyle>
            <a:lvl1pPr>
              <a:defRPr lang="en-US" sz="4000" b="1" kern="1200" cap="none" baseline="0" dirty="0">
                <a:solidFill>
                  <a:srgbClr val="7030A0"/>
                </a:solidFill>
                <a:latin typeface="+mj-lt"/>
                <a:ea typeface="Arial Black" charset="0"/>
                <a:cs typeface="Arial Black" charset="0"/>
              </a:defRPr>
            </a:lvl1pPr>
          </a:lstStyle>
          <a:p>
            <a:r>
              <a:rPr lang="en-US"/>
              <a:t>Click to edit Master title style</a:t>
            </a:r>
          </a:p>
        </p:txBody>
      </p:sp>
    </p:spTree>
    <p:extLst>
      <p:ext uri="{BB962C8B-B14F-4D97-AF65-F5344CB8AC3E}">
        <p14:creationId xmlns:p14="http://schemas.microsoft.com/office/powerpoint/2010/main" val="19910271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03315051"/>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21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04868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9485424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21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4985143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F1E89-CD3B-47EE-8BEC-CCFD1FB5AA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A644F6-4E81-42AA-A93C-FA3DFC71B6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93E432-5024-4205-B461-53F56A03782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7B1A1FF-D3D1-4039-A647-7CC164753CB6}"/>
              </a:ext>
            </a:extLst>
          </p:cNvPr>
          <p:cNvSpPr>
            <a:spLocks noGrp="1"/>
          </p:cNvSpPr>
          <p:nvPr>
            <p:ph type="ftr" sz="quarter" idx="11"/>
          </p:nvPr>
        </p:nvSpPr>
        <p:spPr/>
        <p:txBody>
          <a:bodyPr/>
          <a:lstStyle/>
          <a:p>
            <a:r>
              <a:rPr lang="en-US"/>
              <a:t>Copyright @ 2021 Accenture. All rights reserved</a:t>
            </a:r>
          </a:p>
        </p:txBody>
      </p:sp>
      <p:sp>
        <p:nvSpPr>
          <p:cNvPr id="6" name="Slide Number Placeholder 5">
            <a:extLst>
              <a:ext uri="{FF2B5EF4-FFF2-40B4-BE49-F238E27FC236}">
                <a16:creationId xmlns:a16="http://schemas.microsoft.com/office/drawing/2014/main" id="{CD2F0A3A-DF69-41E4-A06A-5CA026000193}"/>
              </a:ext>
            </a:extLst>
          </p:cNvPr>
          <p:cNvSpPr>
            <a:spLocks noGrp="1"/>
          </p:cNvSpPr>
          <p:nvPr>
            <p:ph type="sldNum" sz="quarter" idx="12"/>
          </p:nvPr>
        </p:nvSpPr>
        <p:spPr/>
        <p:txBody>
          <a:bodyPr/>
          <a:lstStyle/>
          <a:p>
            <a:fld id="{16B689A4-83DF-4DB4-A1FE-57A5910AD0BA}" type="slidenum">
              <a:rPr lang="en-US" smtClean="0"/>
              <a:t>‹#›</a:t>
            </a:fld>
            <a:endParaRPr lang="en-US"/>
          </a:p>
        </p:txBody>
      </p:sp>
    </p:spTree>
    <p:extLst>
      <p:ext uri="{BB962C8B-B14F-4D97-AF65-F5344CB8AC3E}">
        <p14:creationId xmlns:p14="http://schemas.microsoft.com/office/powerpoint/2010/main" val="42245017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21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022098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9_Text and Image 1">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80A0CBE-5949-4A42-9CE5-631955104F7E}"/>
              </a:ext>
            </a:extLst>
          </p:cNvPr>
          <p:cNvSpPr/>
          <p:nvPr userDrawn="1"/>
        </p:nvSpPr>
        <p:spPr>
          <a:xfrm>
            <a:off x="-3516" y="0"/>
            <a:ext cx="12195515" cy="5133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AU"/>
          </a:p>
        </p:txBody>
      </p:sp>
      <p:sp>
        <p:nvSpPr>
          <p:cNvPr id="6" name="Picture Placeholder 5">
            <a:extLst>
              <a:ext uri="{FF2B5EF4-FFF2-40B4-BE49-F238E27FC236}">
                <a16:creationId xmlns:a16="http://schemas.microsoft.com/office/drawing/2014/main" id="{646F41CC-6EFA-FF4B-9A50-99E86851A7CB}"/>
              </a:ext>
            </a:extLst>
          </p:cNvPr>
          <p:cNvSpPr>
            <a:spLocks noGrp="1"/>
          </p:cNvSpPr>
          <p:nvPr>
            <p:ph type="pic" sz="quarter" idx="27" hasCustomPrompt="1"/>
          </p:nvPr>
        </p:nvSpPr>
        <p:spPr>
          <a:xfrm>
            <a:off x="7073900" y="0"/>
            <a:ext cx="5118100" cy="5133975"/>
          </a:xfrm>
          <a:solidFill>
            <a:schemeClr val="bg1">
              <a:lumMod val="95000"/>
            </a:schemeClr>
          </a:solidFill>
        </p:spPr>
        <p:txBody>
          <a:bodyPr anchor="ctr"/>
          <a:lstStyle>
            <a:lvl1pPr marL="0" marR="0" indent="0" algn="ctr" defTabSz="228600" rtl="0" eaLnBrk="1" fontAlgn="auto" latinLnBrk="0" hangingPunct="1">
              <a:lnSpc>
                <a:spcPct val="100000"/>
              </a:lnSpc>
              <a:spcBef>
                <a:spcPts val="0"/>
              </a:spcBef>
              <a:spcAft>
                <a:spcPts val="1200"/>
              </a:spcAft>
              <a:buClrTx/>
              <a:buSzTx/>
              <a:buFont typeface="Arial" panose="020B0604020202020204" pitchFamily="34" charset="0"/>
              <a:buNone/>
              <a:tabLst/>
              <a:defRPr sz="1600"/>
            </a:lvl1pPr>
          </a:lstStyle>
          <a:p>
            <a:pPr marL="0" marR="0" lvl="0" indent="0" algn="l" defTabSz="22860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en-CA" sz="1800" b="0" i="0" u="none" strike="noStrike" kern="1200" cap="none" spc="0" normalizeH="0" baseline="0" noProof="0">
                <a:ln>
                  <a:noFill/>
                </a:ln>
                <a:solidFill>
                  <a:srgbClr val="000000">
                    <a:lumMod val="50000"/>
                    <a:lumOff val="50000"/>
                  </a:srgbClr>
                </a:solidFill>
                <a:effectLst/>
                <a:uLnTx/>
                <a:uFillTx/>
                <a:latin typeface="+mn-lt"/>
                <a:ea typeface="+mn-ea"/>
                <a:cs typeface="+mn-cs"/>
              </a:rPr>
              <a:t>Click on the icon or drag image </a:t>
            </a:r>
            <a:br>
              <a:rPr kumimoji="0" lang="en-CA" sz="1800" b="0" i="0" u="none" strike="noStrike" kern="1200" cap="none" spc="0" normalizeH="0" baseline="0" noProof="0">
                <a:ln>
                  <a:noFill/>
                </a:ln>
                <a:solidFill>
                  <a:srgbClr val="000000">
                    <a:lumMod val="50000"/>
                    <a:lumOff val="50000"/>
                  </a:srgbClr>
                </a:solidFill>
                <a:effectLst/>
                <a:uLnTx/>
                <a:uFillTx/>
                <a:latin typeface="+mn-lt"/>
                <a:ea typeface="+mn-ea"/>
                <a:cs typeface="+mn-cs"/>
              </a:rPr>
            </a:br>
            <a:r>
              <a:rPr kumimoji="0" lang="en-CA" sz="1800" b="0" i="0" u="none" strike="noStrike" kern="1200" cap="none" spc="0" normalizeH="0" baseline="0" noProof="0">
                <a:ln>
                  <a:noFill/>
                </a:ln>
                <a:solidFill>
                  <a:srgbClr val="000000">
                    <a:lumMod val="50000"/>
                    <a:lumOff val="50000"/>
                  </a:srgbClr>
                </a:solidFill>
                <a:effectLst/>
                <a:uLnTx/>
                <a:uFillTx/>
                <a:latin typeface="+mn-lt"/>
                <a:ea typeface="+mn-ea"/>
                <a:cs typeface="+mn-cs"/>
              </a:rPr>
              <a:t>to insert an image </a:t>
            </a:r>
            <a:endParaRPr kumimoji="0" lang="en-US" sz="1800" b="0" i="0" u="none" strike="noStrike" kern="1200" cap="none" spc="0" normalizeH="0" baseline="0" noProof="0">
              <a:ln>
                <a:noFill/>
              </a:ln>
              <a:solidFill>
                <a:srgbClr val="000000">
                  <a:lumMod val="50000"/>
                  <a:lumOff val="50000"/>
                </a:srgbClr>
              </a:solidFill>
              <a:effectLst/>
              <a:uLnTx/>
              <a:uFillTx/>
              <a:latin typeface="+mn-lt"/>
              <a:ea typeface="+mn-ea"/>
              <a:cs typeface="+mn-cs"/>
            </a:endParaRPr>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bg1">
                    <a:alpha val="75000"/>
                  </a:schemeClr>
                </a:solidFill>
              </a:defRPr>
            </a:lvl1pPr>
          </a:lstStyle>
          <a:p>
            <a:pPr algn="r" defTabSz="228600">
              <a:spcAft>
                <a:spcPts val="1200"/>
              </a:spcAft>
            </a:pPr>
            <a:fld id="{CC9E6EB9-168E-4914-8CC7-2E853AFB4F1B}" type="slidenum">
              <a:rPr lang="en-AU" smtClean="0"/>
              <a:pPr algn="r" defTabSz="228600">
                <a:spcAft>
                  <a:spcPts val="1200"/>
                </a:spcAft>
              </a:pPr>
              <a:t>‹#›</a:t>
            </a:fld>
            <a:endParaRPr lang="en-AU"/>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bg1">
                    <a:alpha val="75000"/>
                  </a:schemeClr>
                </a:solidFill>
              </a:rPr>
              <a:t>Copyright © 2022 Accenture. All rights reserved.</a:t>
            </a:r>
            <a:endParaRPr lang="en-US" noProof="0">
              <a:solidFill>
                <a:schemeClr val="bg1">
                  <a:alpha val="75000"/>
                </a:schemeClr>
              </a:solidFill>
            </a:endParaRPr>
          </a:p>
        </p:txBody>
      </p:sp>
      <p:sp>
        <p:nvSpPr>
          <p:cNvPr id="12" name="Text Placeholder 4">
            <a:extLst>
              <a:ext uri="{FF2B5EF4-FFF2-40B4-BE49-F238E27FC236}">
                <a16:creationId xmlns:a16="http://schemas.microsoft.com/office/drawing/2014/main" id="{563AB8B4-46E8-AE45-8825-9BF298AF6E4A}"/>
              </a:ext>
            </a:extLst>
          </p:cNvPr>
          <p:cNvSpPr>
            <a:spLocks noGrp="1"/>
          </p:cNvSpPr>
          <p:nvPr>
            <p:ph type="body" sz="quarter" idx="14" hasCustomPrompt="1"/>
          </p:nvPr>
        </p:nvSpPr>
        <p:spPr>
          <a:xfrm>
            <a:off x="381000" y="1109190"/>
            <a:ext cx="4737101" cy="622615"/>
          </a:xfrm>
        </p:spPr>
        <p:txBody>
          <a:bodyPr tIns="216000"/>
          <a:lstStyle>
            <a:lvl1pPr>
              <a:lnSpc>
                <a:spcPct val="90000"/>
              </a:lnSpc>
              <a:defRPr sz="2400" b="0" i="0">
                <a:solidFill>
                  <a:schemeClr val="accent1"/>
                </a:solidFill>
                <a:latin typeface="GT Sectra Fine Rg" pitchFamily="2" charset="77"/>
              </a:defRPr>
            </a:lvl1pPr>
          </a:lstStyle>
          <a:p>
            <a:pPr lvl="0"/>
            <a:r>
              <a:rPr lang="en-US" sz="2000"/>
              <a:t>Place sub-headline here in GT Sectra Fine at 20pt minimum</a:t>
            </a:r>
          </a:p>
        </p:txBody>
      </p:sp>
      <p:sp>
        <p:nvSpPr>
          <p:cNvPr id="26" name="Text Placeholder 3">
            <a:extLst>
              <a:ext uri="{FF2B5EF4-FFF2-40B4-BE49-F238E27FC236}">
                <a16:creationId xmlns:a16="http://schemas.microsoft.com/office/drawing/2014/main" id="{9A9F2A37-CCF9-F54D-898C-7785297A9ACA}"/>
              </a:ext>
            </a:extLst>
          </p:cNvPr>
          <p:cNvSpPr>
            <a:spLocks noGrp="1"/>
          </p:cNvSpPr>
          <p:nvPr>
            <p:ph type="body" sz="quarter" idx="20" hasCustomPrompt="1"/>
          </p:nvPr>
        </p:nvSpPr>
        <p:spPr>
          <a:xfrm>
            <a:off x="5325956" y="1247789"/>
            <a:ext cx="2775057" cy="3885906"/>
          </a:xfrm>
          <a:blipFill>
            <a:blip r:embed="rId3"/>
            <a:stretch>
              <a:fillRect/>
            </a:stretch>
          </a:blipFill>
        </p:spPr>
        <p:txBody>
          <a:bodyPr lIns="288000" tIns="288000" rIns="251999"/>
          <a:lstStyle>
            <a:lvl1pPr>
              <a:lnSpc>
                <a:spcPct val="95000"/>
              </a:lnSpc>
              <a:spcBef>
                <a:spcPts val="0"/>
              </a:spcBef>
              <a:spcAft>
                <a:spcPts val="0"/>
              </a:spcAft>
              <a:defRPr sz="40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 name="Text Placeholder 3">
            <a:extLst>
              <a:ext uri="{FF2B5EF4-FFF2-40B4-BE49-F238E27FC236}">
                <a16:creationId xmlns:a16="http://schemas.microsoft.com/office/drawing/2014/main" id="{C85B3BE4-E38A-4E4A-A0C1-FBE50F9FF0C3}"/>
              </a:ext>
            </a:extLst>
          </p:cNvPr>
          <p:cNvSpPr>
            <a:spLocks noGrp="1"/>
          </p:cNvSpPr>
          <p:nvPr>
            <p:ph type="body" sz="quarter" idx="21"/>
          </p:nvPr>
        </p:nvSpPr>
        <p:spPr>
          <a:xfrm>
            <a:off x="381000" y="2099791"/>
            <a:ext cx="4737101" cy="2672234"/>
          </a:xfrm>
        </p:spPr>
        <p:txBody>
          <a:bodyPr/>
          <a:lstStyle>
            <a:lvl1pPr>
              <a:spcAft>
                <a:spcPts val="600"/>
              </a:spcAft>
              <a:defRPr sz="1400"/>
            </a:lvl1pPr>
            <a:lvl2pPr>
              <a:spcAft>
                <a:spcPts val="600"/>
              </a:spcAft>
              <a:defRPr sz="1400"/>
            </a:lvl2pPr>
            <a:lvl3pPr>
              <a:spcAft>
                <a:spcPts val="600"/>
              </a:spcAft>
              <a:defRPr sz="1400"/>
            </a:lvl3pPr>
            <a:lvl4pPr>
              <a:spcAft>
                <a:spcPts val="600"/>
              </a:spcAft>
              <a:defRPr sz="1400"/>
            </a:lvl4pPr>
            <a:lvl5pPr>
              <a:spcAft>
                <a:spcPts val="600"/>
              </a:spcAf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0" name="Text Placeholder 3">
            <a:extLst>
              <a:ext uri="{FF2B5EF4-FFF2-40B4-BE49-F238E27FC236}">
                <a16:creationId xmlns:a16="http://schemas.microsoft.com/office/drawing/2014/main" id="{D0E590D6-CBD7-2B41-A328-62ED90DAFB85}"/>
              </a:ext>
            </a:extLst>
          </p:cNvPr>
          <p:cNvSpPr>
            <a:spLocks noGrp="1"/>
          </p:cNvSpPr>
          <p:nvPr>
            <p:ph type="body" sz="quarter" idx="10" hasCustomPrompt="1"/>
          </p:nvPr>
        </p:nvSpPr>
        <p:spPr>
          <a:xfrm>
            <a:off x="381001"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1" name="Text Placeholder 3">
            <a:extLst>
              <a:ext uri="{FF2B5EF4-FFF2-40B4-BE49-F238E27FC236}">
                <a16:creationId xmlns:a16="http://schemas.microsoft.com/office/drawing/2014/main" id="{F1D0C336-184F-4144-9874-ECC0D8B9B149}"/>
              </a:ext>
            </a:extLst>
          </p:cNvPr>
          <p:cNvSpPr>
            <a:spLocks noGrp="1"/>
          </p:cNvSpPr>
          <p:nvPr>
            <p:ph type="body" sz="quarter" idx="22" hasCustomPrompt="1"/>
          </p:nvPr>
        </p:nvSpPr>
        <p:spPr>
          <a:xfrm>
            <a:off x="2049273"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2" name="Text Placeholder 3">
            <a:extLst>
              <a:ext uri="{FF2B5EF4-FFF2-40B4-BE49-F238E27FC236}">
                <a16:creationId xmlns:a16="http://schemas.microsoft.com/office/drawing/2014/main" id="{9CD8B900-B797-144B-82BE-0646A1857B8C}"/>
              </a:ext>
            </a:extLst>
          </p:cNvPr>
          <p:cNvSpPr>
            <a:spLocks noGrp="1"/>
          </p:cNvSpPr>
          <p:nvPr>
            <p:ph type="body" sz="quarter" idx="23" hasCustomPrompt="1"/>
          </p:nvPr>
        </p:nvSpPr>
        <p:spPr>
          <a:xfrm>
            <a:off x="3717545"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3" name="Text Placeholder 3">
            <a:extLst>
              <a:ext uri="{FF2B5EF4-FFF2-40B4-BE49-F238E27FC236}">
                <a16:creationId xmlns:a16="http://schemas.microsoft.com/office/drawing/2014/main" id="{659DD2D5-B326-5448-8312-96D74D6CEA99}"/>
              </a:ext>
            </a:extLst>
          </p:cNvPr>
          <p:cNvSpPr>
            <a:spLocks noGrp="1"/>
          </p:cNvSpPr>
          <p:nvPr>
            <p:ph type="body" sz="quarter" idx="24" hasCustomPrompt="1"/>
          </p:nvPr>
        </p:nvSpPr>
        <p:spPr>
          <a:xfrm>
            <a:off x="5385817"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4" name="Text Placeholder 3">
            <a:extLst>
              <a:ext uri="{FF2B5EF4-FFF2-40B4-BE49-F238E27FC236}">
                <a16:creationId xmlns:a16="http://schemas.microsoft.com/office/drawing/2014/main" id="{D1E49A3D-A122-3C47-A6C7-B87328570C43}"/>
              </a:ext>
            </a:extLst>
          </p:cNvPr>
          <p:cNvSpPr>
            <a:spLocks noGrp="1"/>
          </p:cNvSpPr>
          <p:nvPr>
            <p:ph type="body" sz="quarter" idx="25" hasCustomPrompt="1"/>
          </p:nvPr>
        </p:nvSpPr>
        <p:spPr>
          <a:xfrm>
            <a:off x="7054089"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5" name="Text Placeholder 3">
            <a:extLst>
              <a:ext uri="{FF2B5EF4-FFF2-40B4-BE49-F238E27FC236}">
                <a16:creationId xmlns:a16="http://schemas.microsoft.com/office/drawing/2014/main" id="{A54A3329-FC1D-6E4E-997B-42E2B88329F6}"/>
              </a:ext>
            </a:extLst>
          </p:cNvPr>
          <p:cNvSpPr>
            <a:spLocks noGrp="1"/>
          </p:cNvSpPr>
          <p:nvPr>
            <p:ph type="body" sz="quarter" idx="26" hasCustomPrompt="1"/>
          </p:nvPr>
        </p:nvSpPr>
        <p:spPr>
          <a:xfrm>
            <a:off x="8722361"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
        <p:nvSpPr>
          <p:cNvPr id="49" name="Title 48">
            <a:extLst>
              <a:ext uri="{FF2B5EF4-FFF2-40B4-BE49-F238E27FC236}">
                <a16:creationId xmlns:a16="http://schemas.microsoft.com/office/drawing/2014/main" id="{5AE47184-A9EB-994F-85D9-EAEE27B48087}"/>
              </a:ext>
            </a:extLst>
          </p:cNvPr>
          <p:cNvSpPr>
            <a:spLocks noGrp="1"/>
          </p:cNvSpPr>
          <p:nvPr>
            <p:ph type="title"/>
          </p:nvPr>
        </p:nvSpPr>
        <p:spPr>
          <a:xfrm>
            <a:off x="381000" y="380999"/>
            <a:ext cx="6324600" cy="990601"/>
          </a:xfrm>
        </p:spPr>
        <p:txBody>
          <a:bodyPr/>
          <a:lstStyle/>
          <a:p>
            <a:r>
              <a:rPr lang="en-GB"/>
              <a:t>Click to edit Master title style</a:t>
            </a:r>
            <a:endParaRPr lang="en-AU"/>
          </a:p>
        </p:txBody>
      </p:sp>
      <p:sp>
        <p:nvSpPr>
          <p:cNvPr id="50" name="Text Placeholder 3">
            <a:extLst>
              <a:ext uri="{FF2B5EF4-FFF2-40B4-BE49-F238E27FC236}">
                <a16:creationId xmlns:a16="http://schemas.microsoft.com/office/drawing/2014/main" id="{E062EF5A-B839-CD43-A35B-83D672289259}"/>
              </a:ext>
            </a:extLst>
          </p:cNvPr>
          <p:cNvSpPr>
            <a:spLocks noGrp="1"/>
          </p:cNvSpPr>
          <p:nvPr>
            <p:ph type="body" sz="quarter" idx="28" hasCustomPrompt="1"/>
          </p:nvPr>
        </p:nvSpPr>
        <p:spPr>
          <a:xfrm>
            <a:off x="10390633" y="5380044"/>
            <a:ext cx="1423416" cy="612775"/>
          </a:xfrm>
        </p:spPr>
        <p:txBody>
          <a:bodyPr/>
          <a:lstStyle>
            <a:lvl1pPr marL="0" indent="0">
              <a:lnSpc>
                <a:spcPct val="95000"/>
              </a:lnSpc>
              <a:spcBef>
                <a:spcPts val="0"/>
              </a:spcBef>
              <a:spcAft>
                <a:spcPts val="0"/>
              </a:spcAft>
              <a:buFont typeface="Arial" panose="020B0604020202020204" pitchFamily="34" charset="0"/>
              <a:buNone/>
              <a:defRPr sz="2800" b="1" i="0">
                <a:solidFill>
                  <a:schemeClr val="bg1"/>
                </a:solidFill>
                <a:latin typeface="Graphik Semibold" panose="020B0503030202060203" pitchFamily="34" charset="77"/>
              </a:defRPr>
            </a:lvl1pPr>
            <a:lvl2pPr marL="0" indent="0">
              <a:lnSpc>
                <a:spcPct val="95000"/>
              </a:lnSpc>
              <a:spcBef>
                <a:spcPts val="0"/>
              </a:spcBef>
              <a:spcAft>
                <a:spcPts val="0"/>
              </a:spcAft>
              <a:buNone/>
              <a:defRPr sz="1400">
                <a:solidFill>
                  <a:schemeClr val="bg1"/>
                </a:solidFill>
              </a:defRPr>
            </a:lvl2pPr>
          </a:lstStyle>
          <a:p>
            <a:pPr lvl="0"/>
            <a:r>
              <a:rPr lang="en-GB"/>
              <a:t>00</a:t>
            </a:r>
          </a:p>
          <a:p>
            <a:pPr lvl="1"/>
            <a:r>
              <a:rPr lang="en-GB"/>
              <a:t>Second level</a:t>
            </a:r>
            <a:endParaRPr lang="en-AU"/>
          </a:p>
        </p:txBody>
      </p:sp>
    </p:spTree>
    <p:extLst>
      <p:ext uri="{BB962C8B-B14F-4D97-AF65-F5344CB8AC3E}">
        <p14:creationId xmlns:p14="http://schemas.microsoft.com/office/powerpoint/2010/main" val="38540040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Copyright @ 2021 Accenture. All rights reserved</a:t>
            </a: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noFill/>
              <a:effectLst/>
              <a:uLnTx/>
              <a:uFillTx/>
              <a:latin typeface="Arial"/>
              <a:ea typeface="+mn-ea"/>
              <a:cs typeface="+mn-cs"/>
            </a:endParaRPr>
          </a:p>
        </p:txBody>
      </p:sp>
    </p:spTree>
    <p:extLst>
      <p:ext uri="{BB962C8B-B14F-4D97-AF65-F5344CB8AC3E}">
        <p14:creationId xmlns:p14="http://schemas.microsoft.com/office/powerpoint/2010/main" val="14825857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DF5F7E-7617-43D2-B152-68B0836A97F3}"/>
              </a:ext>
            </a:extLst>
          </p:cNvPr>
          <p:cNvSpPr>
            <a:spLocks noGrp="1"/>
          </p:cNvSpPr>
          <p:nvPr>
            <p:ph type="body" sz="quarter" idx="18"/>
          </p:nvPr>
        </p:nvSpPr>
        <p:spPr>
          <a:xfrm>
            <a:off x="378000" y="2214562"/>
            <a:ext cx="3582000" cy="384063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ext Placeholder 8">
            <a:extLst>
              <a:ext uri="{FF2B5EF4-FFF2-40B4-BE49-F238E27FC236}">
                <a16:creationId xmlns:a16="http://schemas.microsoft.com/office/drawing/2014/main" id="{0EDA8E03-1102-4085-98C9-F9B61291BEE1}"/>
              </a:ext>
            </a:extLst>
          </p:cNvPr>
          <p:cNvSpPr>
            <a:spLocks noGrp="1"/>
          </p:cNvSpPr>
          <p:nvPr>
            <p:ph type="body" sz="quarter" idx="19"/>
          </p:nvPr>
        </p:nvSpPr>
        <p:spPr>
          <a:xfrm>
            <a:off x="4302329" y="2214562"/>
            <a:ext cx="3582000" cy="384063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3" name="Text Placeholder 12">
            <a:extLst>
              <a:ext uri="{FF2B5EF4-FFF2-40B4-BE49-F238E27FC236}">
                <a16:creationId xmlns:a16="http://schemas.microsoft.com/office/drawing/2014/main" id="{951F0277-50C4-4538-A470-D74334281397}"/>
              </a:ext>
            </a:extLst>
          </p:cNvPr>
          <p:cNvSpPr>
            <a:spLocks noGrp="1"/>
          </p:cNvSpPr>
          <p:nvPr>
            <p:ph type="body" sz="quarter" idx="20"/>
          </p:nvPr>
        </p:nvSpPr>
        <p:spPr>
          <a:xfrm>
            <a:off x="8226657" y="2214562"/>
            <a:ext cx="3582000" cy="384063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Slide Number Placeholder 4">
            <a:extLst>
              <a:ext uri="{FF2B5EF4-FFF2-40B4-BE49-F238E27FC236}">
                <a16:creationId xmlns:a16="http://schemas.microsoft.com/office/drawing/2014/main" id="{D76B0CFE-1B37-4F6A-9970-E92B82993D95}"/>
              </a:ext>
            </a:extLst>
          </p:cNvPr>
          <p:cNvSpPr>
            <a:spLocks noGrp="1"/>
          </p:cNvSpPr>
          <p:nvPr>
            <p:ph type="sldNum" sz="quarter" idx="22"/>
          </p:nvPr>
        </p:nvSpPr>
        <p:spPr/>
        <p:txBody>
          <a:bodyPr/>
          <a:lstStyle/>
          <a:p>
            <a:fld id="{FC1BBE33-A891-48E8-970C-4A8D55F96D53}" type="slidenum">
              <a:rPr lang="en-AU" smtClean="0"/>
              <a:pPr/>
              <a:t>‹#›</a:t>
            </a:fld>
            <a:endParaRPr lang="en-AU"/>
          </a:p>
        </p:txBody>
      </p:sp>
      <p:sp>
        <p:nvSpPr>
          <p:cNvPr id="6" name="Title 5">
            <a:extLst>
              <a:ext uri="{FF2B5EF4-FFF2-40B4-BE49-F238E27FC236}">
                <a16:creationId xmlns:a16="http://schemas.microsoft.com/office/drawing/2014/main" id="{941ACA55-677E-4E89-B5E2-D03A0198295F}"/>
              </a:ext>
            </a:extLst>
          </p:cNvPr>
          <p:cNvSpPr>
            <a:spLocks noGrp="1"/>
          </p:cNvSpPr>
          <p:nvPr>
            <p:ph type="title"/>
          </p:nvPr>
        </p:nvSpPr>
        <p:spPr/>
        <p:txBody>
          <a:bodyPr/>
          <a:lstStyle/>
          <a:p>
            <a:r>
              <a:rPr lang="en-GB"/>
              <a:t>Click to edit Master title style</a:t>
            </a:r>
          </a:p>
        </p:txBody>
      </p:sp>
      <p:sp>
        <p:nvSpPr>
          <p:cNvPr id="2" name="Footer Placeholder 1">
            <a:extLst>
              <a:ext uri="{FF2B5EF4-FFF2-40B4-BE49-F238E27FC236}">
                <a16:creationId xmlns:a16="http://schemas.microsoft.com/office/drawing/2014/main" id="{A5BA5F6B-64F1-40DD-A374-A9A27067B693}"/>
              </a:ext>
            </a:extLst>
          </p:cNvPr>
          <p:cNvSpPr>
            <a:spLocks noGrp="1"/>
          </p:cNvSpPr>
          <p:nvPr>
            <p:ph type="ftr" sz="quarter" idx="23"/>
          </p:nvPr>
        </p:nvSpPr>
        <p:spPr/>
        <p:txBody>
          <a:bodyPr/>
          <a:lstStyle/>
          <a:p>
            <a:r>
              <a:rPr lang="en-US"/>
              <a:t>Copyright @ 2021 Accenture. All rights reserved</a:t>
            </a:r>
            <a:endParaRPr lang="en-AU"/>
          </a:p>
        </p:txBody>
      </p:sp>
    </p:spTree>
    <p:extLst>
      <p:ext uri="{BB962C8B-B14F-4D97-AF65-F5344CB8AC3E}">
        <p14:creationId xmlns:p14="http://schemas.microsoft.com/office/powerpoint/2010/main" val="7295980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w/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77F3779-53CF-40F7-9DB7-6E4C64FADBD4}"/>
              </a:ext>
            </a:extLst>
          </p:cNvPr>
          <p:cNvSpPr>
            <a:spLocks noGrp="1"/>
          </p:cNvSpPr>
          <p:nvPr>
            <p:ph type="ftr" sz="quarter" idx="16"/>
          </p:nvPr>
        </p:nvSpPr>
        <p:spPr/>
        <p:txBody>
          <a:bodyPr/>
          <a:lstStyle/>
          <a:p>
            <a:r>
              <a:rPr lang="en-US"/>
              <a:t>Copyright © 2021 Accenture. All rights reserved.</a:t>
            </a:r>
          </a:p>
        </p:txBody>
      </p:sp>
      <p:sp>
        <p:nvSpPr>
          <p:cNvPr id="4" name="Slide Number Placeholder 3">
            <a:extLst>
              <a:ext uri="{FF2B5EF4-FFF2-40B4-BE49-F238E27FC236}">
                <a16:creationId xmlns:a16="http://schemas.microsoft.com/office/drawing/2014/main" id="{CDC9840E-7882-460A-AE74-BC2DACA6D5BA}"/>
              </a:ext>
            </a:extLst>
          </p:cNvPr>
          <p:cNvSpPr>
            <a:spLocks noGrp="1"/>
          </p:cNvSpPr>
          <p:nvPr>
            <p:ph type="sldNum" sz="quarter" idx="17"/>
          </p:nvPr>
        </p:nvSpPr>
        <p:spPr/>
        <p:txBody>
          <a:bodyPr/>
          <a:lstStyle/>
          <a:p>
            <a:fld id="{7F8EB60C-7CC2-49F0-B2EE-C81F067DE041}" type="slidenum">
              <a:rPr lang="en-US" smtClean="0"/>
              <a:pPr/>
              <a:t>‹#›</a:t>
            </a:fld>
            <a:endParaRPr lang="en-US"/>
          </a:p>
        </p:txBody>
      </p:sp>
      <p:sp>
        <p:nvSpPr>
          <p:cNvPr id="7" name="Title 6">
            <a:extLst>
              <a:ext uri="{FF2B5EF4-FFF2-40B4-BE49-F238E27FC236}">
                <a16:creationId xmlns:a16="http://schemas.microsoft.com/office/drawing/2014/main" id="{8FA151BF-81C1-4188-B3FD-BA8C1BC9BADA}"/>
              </a:ext>
            </a:extLst>
          </p:cNvPr>
          <p:cNvSpPr>
            <a:spLocks noGrp="1"/>
          </p:cNvSpPr>
          <p:nvPr>
            <p:ph type="title"/>
          </p:nvPr>
        </p:nvSpPr>
        <p:spPr/>
        <p:txBody>
          <a:bodyPr/>
          <a:lstStyle/>
          <a:p>
            <a:r>
              <a:rPr lang="en-US"/>
              <a:t>Click to edit Master title style</a:t>
            </a:r>
          </a:p>
        </p:txBody>
      </p:sp>
      <p:sp>
        <p:nvSpPr>
          <p:cNvPr id="5" name="Subtitle">
            <a:extLst>
              <a:ext uri="{FF2B5EF4-FFF2-40B4-BE49-F238E27FC236}">
                <a16:creationId xmlns:a16="http://schemas.microsoft.com/office/drawing/2014/main" id="{D982B787-2459-44BF-A9F2-44CE1AFBECA0}"/>
              </a:ext>
            </a:extLst>
          </p:cNvPr>
          <p:cNvSpPr>
            <a:spLocks noGrp="1"/>
          </p:cNvSpPr>
          <p:nvPr>
            <p:ph type="body" sz="quarter" idx="15" hasCustomPrompt="1"/>
          </p:nvPr>
        </p:nvSpPr>
        <p:spPr>
          <a:xfrm>
            <a:off x="362282" y="1209096"/>
            <a:ext cx="11460163" cy="551090"/>
          </a:xfrm>
        </p:spPr>
        <p:txBody>
          <a:bodyPr tIns="180000">
            <a:spAutoFit/>
          </a:bodyPr>
          <a:lstStyle>
            <a:lvl1pPr>
              <a:defRPr sz="2400">
                <a:latin typeface="GT Sectra Fine Rg" panose="00000500000000000000" pitchFamily="50" charset="0"/>
              </a:defRPr>
            </a:lvl1pPr>
          </a:lstStyle>
          <a:p>
            <a:pPr lvl="0"/>
            <a:r>
              <a:rPr lang="en-US"/>
              <a:t>Insert subtitle here at 24 </a:t>
            </a:r>
            <a:r>
              <a:rPr lang="en-US" err="1"/>
              <a:t>pt</a:t>
            </a:r>
            <a:r>
              <a:rPr lang="en-US"/>
              <a:t> and align to the baseline of the title</a:t>
            </a:r>
          </a:p>
        </p:txBody>
      </p:sp>
    </p:spTree>
    <p:extLst>
      <p:ext uri="{BB962C8B-B14F-4D97-AF65-F5344CB8AC3E}">
        <p14:creationId xmlns:p14="http://schemas.microsoft.com/office/powerpoint/2010/main" val="17501946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Long Headline and 1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A30FEC-3E92-41AD-BCE5-FCE54E88E3AD}"/>
              </a:ext>
            </a:extLst>
          </p:cNvPr>
          <p:cNvGraphicFramePr>
            <a:graphicFrameLocks noChangeAspect="1"/>
          </p:cNvGraphicFramePr>
          <p:nvPr userDrawn="1">
            <p:custDataLst>
              <p:tags r:id="rId1"/>
            </p:custDataLst>
            <p:extLst>
              <p:ext uri="{D42A27DB-BD31-4B8C-83A1-F6EECF244321}">
                <p14:modId xmlns:p14="http://schemas.microsoft.com/office/powerpoint/2010/main" val="334782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D3A30FEC-3E92-41AD-BCE5-FCE54E88E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vert="horz"/>
          <a:lstStyle>
            <a:lvl1pPr rtl="0">
              <a:defRPr sz="3600"/>
            </a:lvl1pPr>
          </a:lstStyle>
          <a:p>
            <a:r>
              <a:rPr lang="en-US"/>
              <a:t>Place headline here (36pt, min 30pt)</a:t>
            </a:r>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rtl="0">
              <a:buFont typeface="Arial" panose="020B0604020202020204" pitchFamily="34" charset="0"/>
              <a:buChar char="•"/>
              <a:defRPr/>
            </a:lvl1pPr>
            <a:lvl2pPr marL="457200" rtl="0">
              <a:defRPr/>
            </a:lvl2pPr>
            <a:lvl3pPr marL="685800" rtl="0">
              <a:defRPr/>
            </a:lvl3pPr>
            <a:lvl4pPr marL="914400" rtl="0">
              <a:defRPr/>
            </a:lvl4pPr>
            <a:lvl5pPr marL="1143000" rtl="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rtl="0">
              <a:defRPr lang="en-US" sz="800" kern="1200" dirty="0">
                <a:solidFill>
                  <a:schemeClr val="tx1">
                    <a:alpha val="75000"/>
                  </a:schemeClr>
                </a:solidFill>
                <a:latin typeface="+mn-lt"/>
                <a:ea typeface="+mn-ea"/>
                <a:cs typeface="+mn-cs"/>
              </a:defRPr>
            </a:lvl1pPr>
          </a:lstStyle>
          <a:p>
            <a:pPr defTabSz="228600">
              <a:spcAft>
                <a:spcPts val="1200"/>
              </a:spcAft>
              <a:defRPr/>
            </a:pPr>
            <a:r>
              <a:rPr lang="en-US"/>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lvl1pPr rtl="0">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233228839"/>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Blank - Ligh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328C93C-FFC3-1048-AED0-1092312872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7457"/>
            <a:ext cx="12192000" cy="6865458"/>
          </a:xfrm>
          <a:prstGeom prst="rect">
            <a:avLst/>
          </a:prstGeom>
        </p:spPr>
      </p:pic>
      <p:sp>
        <p:nvSpPr>
          <p:cNvPr id="5" name="Rectangle 4">
            <a:extLst>
              <a:ext uri="{FF2B5EF4-FFF2-40B4-BE49-F238E27FC236}">
                <a16:creationId xmlns:a16="http://schemas.microsoft.com/office/drawing/2014/main" id="{A9871145-E266-C241-9524-C270E8BB21D6}"/>
              </a:ext>
            </a:extLst>
          </p:cNvPr>
          <p:cNvSpPr/>
          <p:nvPr userDrawn="1"/>
        </p:nvSpPr>
        <p:spPr>
          <a:xfrm>
            <a:off x="117475" y="117475"/>
            <a:ext cx="11955463" cy="6623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Tree>
    <p:extLst>
      <p:ext uri="{BB962C8B-B14F-4D97-AF65-F5344CB8AC3E}">
        <p14:creationId xmlns:p14="http://schemas.microsoft.com/office/powerpoint/2010/main" val="7598101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Headline only purple&amp;white 1">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8AC72BC-930C-FB43-B854-5C20EE0389FE}"/>
              </a:ext>
            </a:extLst>
          </p:cNvPr>
          <p:cNvSpPr/>
          <p:nvPr userDrawn="1"/>
        </p:nvSpPr>
        <p:spPr>
          <a:xfrm>
            <a:off x="0" y="0"/>
            <a:ext cx="12192000" cy="6858000"/>
          </a:xfrm>
          <a:prstGeom prst="rect">
            <a:avLst/>
          </a:prstGeom>
          <a:solidFill>
            <a:srgbClr val="F1F2F3"/>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pic>
        <p:nvPicPr>
          <p:cNvPr id="10" name="Picture 9">
            <a:extLst>
              <a:ext uri="{FF2B5EF4-FFF2-40B4-BE49-F238E27FC236}">
                <a16:creationId xmlns:a16="http://schemas.microsoft.com/office/drawing/2014/main" id="{CF085389-DB88-4E1E-B9EC-421A802391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23" y="0"/>
            <a:ext cx="12190377" cy="6867937"/>
          </a:xfrm>
          <a:prstGeom prst="rect">
            <a:avLst/>
          </a:prstGeom>
        </p:spPr>
      </p:pic>
      <p:sp>
        <p:nvSpPr>
          <p:cNvPr id="11" name="Rectangle 10">
            <a:extLst>
              <a:ext uri="{FF2B5EF4-FFF2-40B4-BE49-F238E27FC236}">
                <a16:creationId xmlns:a16="http://schemas.microsoft.com/office/drawing/2014/main" id="{139FFC16-45C3-49E2-9014-6374596A8D7E}"/>
              </a:ext>
            </a:extLst>
          </p:cNvPr>
          <p:cNvSpPr/>
          <p:nvPr userDrawn="1"/>
        </p:nvSpPr>
        <p:spPr>
          <a:xfrm>
            <a:off x="3726" y="3374833"/>
            <a:ext cx="12190377" cy="3496614"/>
          </a:xfrm>
          <a:prstGeom prst="rect">
            <a:avLst/>
          </a:prstGeom>
          <a:solidFill>
            <a:srgbClr val="F1F2F3"/>
          </a:solidFill>
          <a:ln w="19050">
            <a:no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b="1">
              <a:solidFill>
                <a:schemeClr val="bg1"/>
              </a:solidFill>
              <a:latin typeface="Graphik" panose="020B0503030202060203" pitchFamily="34" charset="77"/>
            </a:endParaRPr>
          </a:p>
        </p:txBody>
      </p:sp>
      <p:sp>
        <p:nvSpPr>
          <p:cNvPr id="51" name="object 13">
            <a:extLst>
              <a:ext uri="{FF2B5EF4-FFF2-40B4-BE49-F238E27FC236}">
                <a16:creationId xmlns:a16="http://schemas.microsoft.com/office/drawing/2014/main" id="{DBB82F33-49B5-D44B-9EBF-113498D0372D}"/>
              </a:ext>
            </a:extLst>
          </p:cNvPr>
          <p:cNvSpPr/>
          <p:nvPr userDrawn="1"/>
        </p:nvSpPr>
        <p:spPr>
          <a:xfrm>
            <a:off x="6295482" y="1449287"/>
            <a:ext cx="2449585" cy="1707364"/>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582879" fontAlgn="auto">
              <a:spcBef>
                <a:spcPts val="0"/>
              </a:spcBef>
              <a:spcAft>
                <a:spcPts val="0"/>
              </a:spcAft>
            </a:pPr>
            <a:endParaRPr sz="1147">
              <a:solidFill>
                <a:srgbClr val="000000"/>
              </a:solidFill>
              <a:latin typeface="Graphik"/>
              <a:cs typeface="+mn-cs"/>
            </a:endParaRPr>
          </a:p>
        </p:txBody>
      </p:sp>
      <p:sp>
        <p:nvSpPr>
          <p:cNvPr id="52" name="object 13">
            <a:extLst>
              <a:ext uri="{FF2B5EF4-FFF2-40B4-BE49-F238E27FC236}">
                <a16:creationId xmlns:a16="http://schemas.microsoft.com/office/drawing/2014/main" id="{BA6484A7-9D10-3C4A-8834-146FBB181C28}"/>
              </a:ext>
            </a:extLst>
          </p:cNvPr>
          <p:cNvSpPr/>
          <p:nvPr userDrawn="1"/>
        </p:nvSpPr>
        <p:spPr>
          <a:xfrm>
            <a:off x="9296400" y="1449287"/>
            <a:ext cx="2449585" cy="1707364"/>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582879" fontAlgn="auto">
              <a:spcBef>
                <a:spcPts val="0"/>
              </a:spcBef>
              <a:spcAft>
                <a:spcPts val="0"/>
              </a:spcAft>
            </a:pPr>
            <a:endParaRPr sz="1147">
              <a:solidFill>
                <a:srgbClr val="000000"/>
              </a:solidFill>
              <a:latin typeface="Graphik"/>
              <a:cs typeface="+mn-cs"/>
            </a:endParaRPr>
          </a:p>
        </p:txBody>
      </p:sp>
      <p:sp>
        <p:nvSpPr>
          <p:cNvPr id="49" name="object 13">
            <a:extLst>
              <a:ext uri="{FF2B5EF4-FFF2-40B4-BE49-F238E27FC236}">
                <a16:creationId xmlns:a16="http://schemas.microsoft.com/office/drawing/2014/main" id="{FE1AA3CC-54ED-1F4D-ADF3-2167F97B3964}"/>
              </a:ext>
            </a:extLst>
          </p:cNvPr>
          <p:cNvSpPr/>
          <p:nvPr userDrawn="1"/>
        </p:nvSpPr>
        <p:spPr>
          <a:xfrm>
            <a:off x="276837" y="1449287"/>
            <a:ext cx="5450965" cy="1707364"/>
          </a:xfrm>
          <a:custGeom>
            <a:avLst/>
            <a:gdLst/>
            <a:ahLst/>
            <a:cxnLst/>
            <a:rect l="l" t="t" r="r" b="b"/>
            <a:pathLst>
              <a:path w="3041015" h="1543050">
                <a:moveTo>
                  <a:pt x="0" y="1542694"/>
                </a:moveTo>
                <a:lnTo>
                  <a:pt x="3040557" y="1542694"/>
                </a:lnTo>
                <a:lnTo>
                  <a:pt x="3040557" y="0"/>
                </a:lnTo>
                <a:lnTo>
                  <a:pt x="0" y="0"/>
                </a:lnTo>
                <a:lnTo>
                  <a:pt x="0" y="1542694"/>
                </a:lnTo>
                <a:close/>
              </a:path>
            </a:pathLst>
          </a:custGeom>
          <a:solidFill>
            <a:srgbClr val="460073"/>
          </a:solidFill>
        </p:spPr>
        <p:txBody>
          <a:bodyPr wrap="square" lIns="0" tIns="0" rIns="0" bIns="0" rtlCol="0"/>
          <a:lstStyle/>
          <a:p>
            <a:pPr defTabSz="582879" fontAlgn="auto">
              <a:spcBef>
                <a:spcPts val="0"/>
              </a:spcBef>
              <a:spcAft>
                <a:spcPts val="0"/>
              </a:spcAft>
            </a:pPr>
            <a:endParaRPr sz="1147">
              <a:solidFill>
                <a:srgbClr val="000000"/>
              </a:solidFill>
              <a:latin typeface="Graphik"/>
              <a:cs typeface="+mn-cs"/>
            </a:endParaRPr>
          </a:p>
        </p:txBody>
      </p:sp>
      <p:sp>
        <p:nvSpPr>
          <p:cNvPr id="17" name="Rectangle 16">
            <a:extLst>
              <a:ext uri="{FF2B5EF4-FFF2-40B4-BE49-F238E27FC236}">
                <a16:creationId xmlns:a16="http://schemas.microsoft.com/office/drawing/2014/main" id="{4E005251-D46F-4E4A-9E62-509A5C5DD5AD}"/>
              </a:ext>
            </a:extLst>
          </p:cNvPr>
          <p:cNvSpPr/>
          <p:nvPr userDrawn="1"/>
        </p:nvSpPr>
        <p:spPr>
          <a:xfrm>
            <a:off x="357187" y="510003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18" name="Rectangle 17">
            <a:extLst>
              <a:ext uri="{FF2B5EF4-FFF2-40B4-BE49-F238E27FC236}">
                <a16:creationId xmlns:a16="http://schemas.microsoft.com/office/drawing/2014/main" id="{D275692A-D09A-D344-B718-EE3F64544D2B}"/>
              </a:ext>
            </a:extLst>
          </p:cNvPr>
          <p:cNvSpPr/>
          <p:nvPr userDrawn="1"/>
        </p:nvSpPr>
        <p:spPr>
          <a:xfrm>
            <a:off x="3367759" y="510003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19" name="Rectangle 18">
            <a:extLst>
              <a:ext uri="{FF2B5EF4-FFF2-40B4-BE49-F238E27FC236}">
                <a16:creationId xmlns:a16="http://schemas.microsoft.com/office/drawing/2014/main" id="{13BA332E-2856-EF46-9C20-5612DA03B96C}"/>
              </a:ext>
            </a:extLst>
          </p:cNvPr>
          <p:cNvSpPr/>
          <p:nvPr userDrawn="1"/>
        </p:nvSpPr>
        <p:spPr>
          <a:xfrm>
            <a:off x="6378331" y="510003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20" name="Rectangle 19">
            <a:extLst>
              <a:ext uri="{FF2B5EF4-FFF2-40B4-BE49-F238E27FC236}">
                <a16:creationId xmlns:a16="http://schemas.microsoft.com/office/drawing/2014/main" id="{926943CB-5AFF-9D44-8D8F-EEBDBB8431F6}"/>
              </a:ext>
            </a:extLst>
          </p:cNvPr>
          <p:cNvSpPr/>
          <p:nvPr userDrawn="1"/>
        </p:nvSpPr>
        <p:spPr>
          <a:xfrm>
            <a:off x="9388904" y="510003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24" name="Text Placeholder 2">
            <a:extLst>
              <a:ext uri="{FF2B5EF4-FFF2-40B4-BE49-F238E27FC236}">
                <a16:creationId xmlns:a16="http://schemas.microsoft.com/office/drawing/2014/main" id="{649E8C0E-63C1-9D4E-BAAF-E6E63E070F3D}"/>
              </a:ext>
            </a:extLst>
          </p:cNvPr>
          <p:cNvSpPr>
            <a:spLocks noGrp="1"/>
          </p:cNvSpPr>
          <p:nvPr>
            <p:ph type="body" sz="quarter" idx="14" hasCustomPrompt="1"/>
          </p:nvPr>
        </p:nvSpPr>
        <p:spPr>
          <a:xfrm>
            <a:off x="465581" y="573338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25" name="Text Placeholder 2">
            <a:extLst>
              <a:ext uri="{FF2B5EF4-FFF2-40B4-BE49-F238E27FC236}">
                <a16:creationId xmlns:a16="http://schemas.microsoft.com/office/drawing/2014/main" id="{7AAE8BB5-8969-094B-9BB9-16C597AB7286}"/>
              </a:ext>
            </a:extLst>
          </p:cNvPr>
          <p:cNvSpPr>
            <a:spLocks noGrp="1"/>
          </p:cNvSpPr>
          <p:nvPr>
            <p:ph type="body" sz="quarter" idx="15" hasCustomPrompt="1"/>
          </p:nvPr>
        </p:nvSpPr>
        <p:spPr>
          <a:xfrm>
            <a:off x="3473957" y="573338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26" name="Text Placeholder 2">
            <a:extLst>
              <a:ext uri="{FF2B5EF4-FFF2-40B4-BE49-F238E27FC236}">
                <a16:creationId xmlns:a16="http://schemas.microsoft.com/office/drawing/2014/main" id="{666EC4D4-58B6-F04A-B8C1-F618D268CC7D}"/>
              </a:ext>
            </a:extLst>
          </p:cNvPr>
          <p:cNvSpPr>
            <a:spLocks noGrp="1"/>
          </p:cNvSpPr>
          <p:nvPr>
            <p:ph type="body" sz="quarter" idx="16" hasCustomPrompt="1"/>
          </p:nvPr>
        </p:nvSpPr>
        <p:spPr>
          <a:xfrm>
            <a:off x="6486725" y="573338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27" name="Text Placeholder 2">
            <a:extLst>
              <a:ext uri="{FF2B5EF4-FFF2-40B4-BE49-F238E27FC236}">
                <a16:creationId xmlns:a16="http://schemas.microsoft.com/office/drawing/2014/main" id="{89667E4C-4CDE-7345-9DC5-3EB07C54F898}"/>
              </a:ext>
            </a:extLst>
          </p:cNvPr>
          <p:cNvSpPr>
            <a:spLocks noGrp="1"/>
          </p:cNvSpPr>
          <p:nvPr>
            <p:ph type="body" sz="quarter" idx="17" hasCustomPrompt="1"/>
          </p:nvPr>
        </p:nvSpPr>
        <p:spPr>
          <a:xfrm>
            <a:off x="9502331" y="573338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4" name="Rectangle 3">
            <a:extLst>
              <a:ext uri="{FF2B5EF4-FFF2-40B4-BE49-F238E27FC236}">
                <a16:creationId xmlns:a16="http://schemas.microsoft.com/office/drawing/2014/main" id="{8831495D-E702-F345-9494-2CBF89B0B98A}"/>
              </a:ext>
            </a:extLst>
          </p:cNvPr>
          <p:cNvSpPr/>
          <p:nvPr userDrawn="1"/>
        </p:nvSpPr>
        <p:spPr>
          <a:xfrm>
            <a:off x="281771" y="512495"/>
            <a:ext cx="5729454" cy="584647"/>
          </a:xfrm>
          <a:prstGeom prst="rect">
            <a:avLst/>
          </a:prstGeom>
        </p:spPr>
        <p:txBody>
          <a:bodyPr wrap="none">
            <a:spAutoFit/>
          </a:bodyPr>
          <a:lstStyle/>
          <a:p>
            <a:r>
              <a:rPr kumimoji="0" lang="en-US" sz="3199" b="1" i="0" u="none" strike="noStrike" kern="1200" cap="none" spc="-150" normalizeH="0" baseline="0" noProof="0">
                <a:ln>
                  <a:noFill/>
                </a:ln>
                <a:solidFill>
                  <a:schemeClr val="bg1"/>
                </a:solidFill>
                <a:effectLst/>
                <a:uLnTx/>
                <a:uFillTx/>
                <a:latin typeface="+mn-lt"/>
                <a:ea typeface="Roboto Black" panose="02000000000000000000" pitchFamily="2" charset="0"/>
                <a:cs typeface="Arial" panose="020B0604020202020204" pitchFamily="34" charset="0"/>
              </a:rPr>
              <a:t>TECHNOLOGY QUICK FACTS</a:t>
            </a:r>
            <a:endParaRPr lang="en-US">
              <a:solidFill>
                <a:schemeClr val="bg1"/>
              </a:solidFill>
            </a:endParaRPr>
          </a:p>
        </p:txBody>
      </p:sp>
      <p:sp>
        <p:nvSpPr>
          <p:cNvPr id="29" name="Rectangle 28">
            <a:extLst>
              <a:ext uri="{FF2B5EF4-FFF2-40B4-BE49-F238E27FC236}">
                <a16:creationId xmlns:a16="http://schemas.microsoft.com/office/drawing/2014/main" id="{FCAED144-1DAF-B64C-8720-BD4BD3F97610}"/>
              </a:ext>
            </a:extLst>
          </p:cNvPr>
          <p:cNvSpPr/>
          <p:nvPr userDrawn="1"/>
        </p:nvSpPr>
        <p:spPr>
          <a:xfrm>
            <a:off x="357187" y="360608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30" name="Rectangle 29">
            <a:extLst>
              <a:ext uri="{FF2B5EF4-FFF2-40B4-BE49-F238E27FC236}">
                <a16:creationId xmlns:a16="http://schemas.microsoft.com/office/drawing/2014/main" id="{1422536A-87D9-774F-A0E3-43E6DFE0CD99}"/>
              </a:ext>
            </a:extLst>
          </p:cNvPr>
          <p:cNvSpPr/>
          <p:nvPr userDrawn="1"/>
        </p:nvSpPr>
        <p:spPr>
          <a:xfrm>
            <a:off x="3367759" y="360608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31" name="Rectangle 30">
            <a:extLst>
              <a:ext uri="{FF2B5EF4-FFF2-40B4-BE49-F238E27FC236}">
                <a16:creationId xmlns:a16="http://schemas.microsoft.com/office/drawing/2014/main" id="{5469544B-5616-6D47-8847-24AA41EBE93E}"/>
              </a:ext>
            </a:extLst>
          </p:cNvPr>
          <p:cNvSpPr/>
          <p:nvPr userDrawn="1"/>
        </p:nvSpPr>
        <p:spPr>
          <a:xfrm>
            <a:off x="6378331" y="360608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32" name="Rectangle 31">
            <a:extLst>
              <a:ext uri="{FF2B5EF4-FFF2-40B4-BE49-F238E27FC236}">
                <a16:creationId xmlns:a16="http://schemas.microsoft.com/office/drawing/2014/main" id="{1C4BA510-8A48-4A4A-9515-A2BDCE6B5D9A}"/>
              </a:ext>
            </a:extLst>
          </p:cNvPr>
          <p:cNvSpPr/>
          <p:nvPr userDrawn="1"/>
        </p:nvSpPr>
        <p:spPr>
          <a:xfrm>
            <a:off x="9388904" y="3606084"/>
            <a:ext cx="2440877" cy="1299178"/>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33" name="Text Placeholder 2">
            <a:extLst>
              <a:ext uri="{FF2B5EF4-FFF2-40B4-BE49-F238E27FC236}">
                <a16:creationId xmlns:a16="http://schemas.microsoft.com/office/drawing/2014/main" id="{E9DFED88-DC0C-334E-8CD0-1B4CB23E9C4F}"/>
              </a:ext>
            </a:extLst>
          </p:cNvPr>
          <p:cNvSpPr>
            <a:spLocks noGrp="1"/>
          </p:cNvSpPr>
          <p:nvPr>
            <p:ph type="body" sz="quarter" idx="18" hasCustomPrompt="1"/>
          </p:nvPr>
        </p:nvSpPr>
        <p:spPr>
          <a:xfrm>
            <a:off x="465581" y="423943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34" name="Text Placeholder 2">
            <a:extLst>
              <a:ext uri="{FF2B5EF4-FFF2-40B4-BE49-F238E27FC236}">
                <a16:creationId xmlns:a16="http://schemas.microsoft.com/office/drawing/2014/main" id="{CCB274B5-8F87-564F-9B57-E13720386A27}"/>
              </a:ext>
            </a:extLst>
          </p:cNvPr>
          <p:cNvSpPr>
            <a:spLocks noGrp="1"/>
          </p:cNvSpPr>
          <p:nvPr>
            <p:ph type="body" sz="quarter" idx="19" hasCustomPrompt="1"/>
          </p:nvPr>
        </p:nvSpPr>
        <p:spPr>
          <a:xfrm>
            <a:off x="3473957" y="423943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35" name="Text Placeholder 2">
            <a:extLst>
              <a:ext uri="{FF2B5EF4-FFF2-40B4-BE49-F238E27FC236}">
                <a16:creationId xmlns:a16="http://schemas.microsoft.com/office/drawing/2014/main" id="{D6D4652F-E654-F64C-9FBD-290D65EA212D}"/>
              </a:ext>
            </a:extLst>
          </p:cNvPr>
          <p:cNvSpPr>
            <a:spLocks noGrp="1"/>
          </p:cNvSpPr>
          <p:nvPr>
            <p:ph type="body" sz="quarter" idx="20" hasCustomPrompt="1"/>
          </p:nvPr>
        </p:nvSpPr>
        <p:spPr>
          <a:xfrm>
            <a:off x="6486725" y="423943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36" name="Text Placeholder 2">
            <a:extLst>
              <a:ext uri="{FF2B5EF4-FFF2-40B4-BE49-F238E27FC236}">
                <a16:creationId xmlns:a16="http://schemas.microsoft.com/office/drawing/2014/main" id="{23A7E18A-BD74-4E49-985E-7DF5195D9921}"/>
              </a:ext>
            </a:extLst>
          </p:cNvPr>
          <p:cNvSpPr>
            <a:spLocks noGrp="1"/>
          </p:cNvSpPr>
          <p:nvPr>
            <p:ph type="body" sz="quarter" idx="21" hasCustomPrompt="1"/>
          </p:nvPr>
        </p:nvSpPr>
        <p:spPr>
          <a:xfrm>
            <a:off x="9502331" y="4239435"/>
            <a:ext cx="2224088" cy="564385"/>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37" name="Rectangle 36">
            <a:extLst>
              <a:ext uri="{FF2B5EF4-FFF2-40B4-BE49-F238E27FC236}">
                <a16:creationId xmlns:a16="http://schemas.microsoft.com/office/drawing/2014/main" id="{A9E0598D-16EA-3741-AFB8-F838628AF596}"/>
              </a:ext>
            </a:extLst>
          </p:cNvPr>
          <p:cNvSpPr/>
          <p:nvPr userDrawn="1"/>
        </p:nvSpPr>
        <p:spPr>
          <a:xfrm>
            <a:off x="357187" y="1371600"/>
            <a:ext cx="5451081" cy="1699402"/>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39" name="Rectangle 38">
            <a:extLst>
              <a:ext uri="{FF2B5EF4-FFF2-40B4-BE49-F238E27FC236}">
                <a16:creationId xmlns:a16="http://schemas.microsoft.com/office/drawing/2014/main" id="{42ECF5D9-71B6-7740-BCC1-316F500CAD58}"/>
              </a:ext>
            </a:extLst>
          </p:cNvPr>
          <p:cNvSpPr/>
          <p:nvPr userDrawn="1"/>
        </p:nvSpPr>
        <p:spPr>
          <a:xfrm>
            <a:off x="6378331" y="1371600"/>
            <a:ext cx="2440877" cy="1699402"/>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40" name="Rectangle 39">
            <a:extLst>
              <a:ext uri="{FF2B5EF4-FFF2-40B4-BE49-F238E27FC236}">
                <a16:creationId xmlns:a16="http://schemas.microsoft.com/office/drawing/2014/main" id="{56471741-517B-DF4B-AA0B-D73C7B4EB537}"/>
              </a:ext>
            </a:extLst>
          </p:cNvPr>
          <p:cNvSpPr/>
          <p:nvPr userDrawn="1"/>
        </p:nvSpPr>
        <p:spPr>
          <a:xfrm>
            <a:off x="9388904" y="1371600"/>
            <a:ext cx="2440877" cy="1699402"/>
          </a:xfrm>
          <a:prstGeom prst="rect">
            <a:avLst/>
          </a:prstGeom>
          <a:solidFill>
            <a:schemeClr val="bg1"/>
          </a:solidFill>
          <a:ln w="9525">
            <a:solidFill>
              <a:schemeClr val="bg1">
                <a:lumMod val="7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solidFill>
                <a:schemeClr val="bg1"/>
              </a:solidFill>
              <a:latin typeface="Graphik" panose="020B0503030202060203" pitchFamily="34" charset="77"/>
            </a:endParaRPr>
          </a:p>
        </p:txBody>
      </p:sp>
      <p:sp>
        <p:nvSpPr>
          <p:cNvPr id="41" name="Text Placeholder 2">
            <a:extLst>
              <a:ext uri="{FF2B5EF4-FFF2-40B4-BE49-F238E27FC236}">
                <a16:creationId xmlns:a16="http://schemas.microsoft.com/office/drawing/2014/main" id="{0055DA58-D050-DC4C-ABD0-7A07FCF4D6B4}"/>
              </a:ext>
            </a:extLst>
          </p:cNvPr>
          <p:cNvSpPr>
            <a:spLocks noGrp="1"/>
          </p:cNvSpPr>
          <p:nvPr>
            <p:ph type="body" sz="quarter" idx="22" hasCustomPrompt="1"/>
          </p:nvPr>
        </p:nvSpPr>
        <p:spPr>
          <a:xfrm>
            <a:off x="465581" y="1554191"/>
            <a:ext cx="5235308" cy="526279"/>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43" name="Text Placeholder 2">
            <a:extLst>
              <a:ext uri="{FF2B5EF4-FFF2-40B4-BE49-F238E27FC236}">
                <a16:creationId xmlns:a16="http://schemas.microsoft.com/office/drawing/2014/main" id="{C34EC1BE-ED12-BA4C-B61F-C3C14866F49B}"/>
              </a:ext>
            </a:extLst>
          </p:cNvPr>
          <p:cNvSpPr>
            <a:spLocks noGrp="1"/>
          </p:cNvSpPr>
          <p:nvPr>
            <p:ph type="body" sz="quarter" idx="24" hasCustomPrompt="1"/>
          </p:nvPr>
        </p:nvSpPr>
        <p:spPr>
          <a:xfrm>
            <a:off x="6486725" y="1554191"/>
            <a:ext cx="2224088" cy="526279"/>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sp>
        <p:nvSpPr>
          <p:cNvPr id="44" name="Text Placeholder 2">
            <a:extLst>
              <a:ext uri="{FF2B5EF4-FFF2-40B4-BE49-F238E27FC236}">
                <a16:creationId xmlns:a16="http://schemas.microsoft.com/office/drawing/2014/main" id="{3B949B39-D722-3A45-9B0B-3561A0AA336F}"/>
              </a:ext>
            </a:extLst>
          </p:cNvPr>
          <p:cNvSpPr>
            <a:spLocks noGrp="1"/>
          </p:cNvSpPr>
          <p:nvPr>
            <p:ph type="body" sz="quarter" idx="25" hasCustomPrompt="1"/>
          </p:nvPr>
        </p:nvSpPr>
        <p:spPr>
          <a:xfrm>
            <a:off x="9502331" y="1554191"/>
            <a:ext cx="2224088" cy="526279"/>
          </a:xfrm>
        </p:spPr>
        <p:txBody>
          <a:bodyPr/>
          <a:lstStyle>
            <a:lvl1pPr>
              <a:defRPr sz="1050" b="0" i="0">
                <a:latin typeface="Graphik" panose="020B0503030202060203" pitchFamily="34" charset="77"/>
              </a:defRPr>
            </a:lvl1pPr>
            <a:lvl2pPr>
              <a:defRPr sz="1200"/>
            </a:lvl2pPr>
            <a:lvl3pPr>
              <a:defRPr sz="1200"/>
            </a:lvl3pPr>
            <a:lvl4pPr>
              <a:defRPr sz="1200"/>
            </a:lvl4pPr>
            <a:lvl5pPr>
              <a:defRPr sz="1200"/>
            </a:lvl5pPr>
          </a:lstStyle>
          <a:p>
            <a:pPr lvl="0"/>
            <a:r>
              <a:rPr lang="en-US"/>
              <a:t>Place holder text… </a:t>
            </a:r>
          </a:p>
        </p:txBody>
      </p:sp>
      <p:pic>
        <p:nvPicPr>
          <p:cNvPr id="46" name="Picture 45" descr="A picture containing blue, building, monitor, large&#10;&#10;Description automatically generated">
            <a:extLst>
              <a:ext uri="{FF2B5EF4-FFF2-40B4-BE49-F238E27FC236}">
                <a16:creationId xmlns:a16="http://schemas.microsoft.com/office/drawing/2014/main" id="{1904B7A9-DE2B-C341-BA0C-4DC681AD4267}"/>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6371013" y="2098160"/>
            <a:ext cx="2447989" cy="982332"/>
          </a:xfrm>
          <a:prstGeom prst="rect">
            <a:avLst/>
          </a:prstGeom>
        </p:spPr>
      </p:pic>
      <p:pic>
        <p:nvPicPr>
          <p:cNvPr id="47" name="Picture 46" descr="A close up of a building&#10;&#10;Description automatically generated">
            <a:extLst>
              <a:ext uri="{FF2B5EF4-FFF2-40B4-BE49-F238E27FC236}">
                <a16:creationId xmlns:a16="http://schemas.microsoft.com/office/drawing/2014/main" id="{528A2AF7-03C6-9A4C-825E-78B0543D6D3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383852" y="2084294"/>
            <a:ext cx="2453771" cy="992661"/>
          </a:xfrm>
          <a:prstGeom prst="rect">
            <a:avLst/>
          </a:prstGeom>
        </p:spPr>
      </p:pic>
      <p:pic>
        <p:nvPicPr>
          <p:cNvPr id="6" name="Picture 5" descr="A close up of a logo&#10;&#10;Description automatically generated">
            <a:extLst>
              <a:ext uri="{FF2B5EF4-FFF2-40B4-BE49-F238E27FC236}">
                <a16:creationId xmlns:a16="http://schemas.microsoft.com/office/drawing/2014/main" id="{7AD77B0C-67F6-C94B-95D8-03437A4A7DCD}"/>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4" r="-1"/>
          <a:stretch/>
        </p:blipFill>
        <p:spPr>
          <a:xfrm>
            <a:off x="352045" y="2092920"/>
            <a:ext cx="5464856" cy="978894"/>
          </a:xfrm>
          <a:prstGeom prst="rect">
            <a:avLst/>
          </a:prstGeom>
        </p:spPr>
      </p:pic>
    </p:spTree>
    <p:extLst>
      <p:ext uri="{BB962C8B-B14F-4D97-AF65-F5344CB8AC3E}">
        <p14:creationId xmlns:p14="http://schemas.microsoft.com/office/powerpoint/2010/main" val="18321860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slideLayout" Target="../slideLayouts/slideLayout98.xml"/><Relationship Id="rId55" Type="http://schemas.openxmlformats.org/officeDocument/2006/relationships/slideLayout" Target="../slideLayouts/slideLayout103.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slideLayout" Target="../slideLayouts/slideLayout101.xml"/><Relationship Id="rId5" Type="http://schemas.openxmlformats.org/officeDocument/2006/relationships/slideLayout" Target="../slideLayouts/slideLayout53.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56" Type="http://schemas.openxmlformats.org/officeDocument/2006/relationships/theme" Target="../theme/theme2.xml"/><Relationship Id="rId8" Type="http://schemas.openxmlformats.org/officeDocument/2006/relationships/slideLayout" Target="../slideLayouts/slideLayout56.xml"/><Relationship Id="rId51" Type="http://schemas.openxmlformats.org/officeDocument/2006/relationships/slideLayout" Target="../slideLayouts/slideLayout99.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slideLayout" Target="../slideLayouts/slideLayout102.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 Id="rId57" Type="http://schemas.openxmlformats.org/officeDocument/2006/relationships/image" Target="../media/image13.png"/><Relationship Id="rId10" Type="http://schemas.openxmlformats.org/officeDocument/2006/relationships/slideLayout" Target="../slideLayouts/slideLayout58.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slideLayout" Target="../slideLayouts/slideLayout142.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42" Type="http://schemas.openxmlformats.org/officeDocument/2006/relationships/slideLayout" Target="../slideLayouts/slideLayout145.xml"/><Relationship Id="rId47" Type="http://schemas.openxmlformats.org/officeDocument/2006/relationships/slideLayout" Target="../slideLayouts/slideLayout150.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9" Type="http://schemas.openxmlformats.org/officeDocument/2006/relationships/slideLayout" Target="../slideLayouts/slideLayout132.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slideLayout" Target="../slideLayouts/slideLayout140.xml"/><Relationship Id="rId40" Type="http://schemas.openxmlformats.org/officeDocument/2006/relationships/slideLayout" Target="../slideLayouts/slideLayout143.xml"/><Relationship Id="rId45" Type="http://schemas.openxmlformats.org/officeDocument/2006/relationships/slideLayout" Target="../slideLayouts/slideLayout148.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slideLayout" Target="../slideLayouts/slideLayout139.xml"/><Relationship Id="rId49" Type="http://schemas.openxmlformats.org/officeDocument/2006/relationships/theme" Target="../theme/theme3.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4" Type="http://schemas.openxmlformats.org/officeDocument/2006/relationships/slideLayout" Target="../slideLayouts/slideLayout147.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slideLayout" Target="../slideLayouts/slideLayout138.xml"/><Relationship Id="rId43" Type="http://schemas.openxmlformats.org/officeDocument/2006/relationships/slideLayout" Target="../slideLayouts/slideLayout146.xml"/><Relationship Id="rId48" Type="http://schemas.openxmlformats.org/officeDocument/2006/relationships/slideLayout" Target="../slideLayouts/slideLayout151.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slideLayout" Target="../slideLayouts/slideLayout141.xml"/><Relationship Id="rId46" Type="http://schemas.openxmlformats.org/officeDocument/2006/relationships/slideLayout" Target="../slideLayouts/slideLayout149.xml"/><Relationship Id="rId20" Type="http://schemas.openxmlformats.org/officeDocument/2006/relationships/slideLayout" Target="../slideLayouts/slideLayout123.xml"/><Relationship Id="rId41" Type="http://schemas.openxmlformats.org/officeDocument/2006/relationships/slideLayout" Target="../slideLayouts/slideLayout144.xml"/><Relationship Id="rId1" Type="http://schemas.openxmlformats.org/officeDocument/2006/relationships/slideLayout" Target="../slideLayouts/slideLayout104.xml"/><Relationship Id="rId6"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436129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a:solidFill>
                  <a:schemeClr val="tx1">
                    <a:alpha val="75000"/>
                  </a:schemeClr>
                </a:solidFill>
              </a:rPr>
              <a:t>Copyright © 2022 Accentur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57" cstate="email">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spTree>
    <p:extLst>
      <p:ext uri="{BB962C8B-B14F-4D97-AF65-F5344CB8AC3E}">
        <p14:creationId xmlns:p14="http://schemas.microsoft.com/office/powerpoint/2010/main" val="205755577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Lst>
  <p:hf sldNum="0" hdr="0" ft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1200"/>
        </a:spcAft>
        <a:buFont typeface="Arial" panose="020B0604020202020204" pitchFamily="34" charset="0"/>
        <a:buNone/>
        <a:defRPr sz="2000" b="0" kern="1200">
          <a:solidFill>
            <a:schemeClr val="tx1"/>
          </a:solidFill>
          <a:latin typeface="+mn-lt"/>
          <a:ea typeface="+mn-ea"/>
          <a:cs typeface="+mn-cs"/>
        </a:defRPr>
      </a:lvl1pPr>
      <a:lvl2pPr marL="228600" indent="-228600" algn="l" defTabSz="228600" rtl="0" eaLnBrk="1" latinLnBrk="0" hangingPunct="1">
        <a:lnSpc>
          <a:spcPct val="100000"/>
        </a:lnSpc>
        <a:spcBef>
          <a:spcPts val="0"/>
        </a:spcBef>
        <a:spcAft>
          <a:spcPts val="1200"/>
        </a:spcAft>
        <a:buClrTx/>
        <a:buFont typeface="Arial" panose="020B0604020202020204" pitchFamily="34" charset="0"/>
        <a:buChar char="•"/>
        <a:defRPr sz="2000" kern="1200">
          <a:solidFill>
            <a:schemeClr val="tx1"/>
          </a:solidFill>
          <a:latin typeface="+mn-lt"/>
          <a:ea typeface="+mn-ea"/>
          <a:cs typeface="+mn-cs"/>
        </a:defRPr>
      </a:lvl2pPr>
      <a:lvl3pPr marL="457200" indent="-228600" algn="l" defTabSz="228600" rtl="0" eaLnBrk="1" latinLnBrk="0" hangingPunct="1">
        <a:lnSpc>
          <a:spcPct val="100000"/>
        </a:lnSpc>
        <a:spcBef>
          <a:spcPts val="0"/>
        </a:spcBef>
        <a:spcAft>
          <a:spcPts val="1200"/>
        </a:spcAft>
        <a:buFont typeface="System Font"/>
        <a:buChar char="–"/>
        <a:defRPr sz="2000" kern="1200">
          <a:solidFill>
            <a:schemeClr val="tx1"/>
          </a:solidFill>
          <a:latin typeface="+mn-lt"/>
          <a:ea typeface="+mn-ea"/>
          <a:cs typeface="+mn-cs"/>
        </a:defRPr>
      </a:lvl3pPr>
      <a:lvl4pPr marL="685800" indent="-228600" algn="l" defTabSz="2286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4pPr>
      <a:lvl5pPr marL="914400" indent="-228600" algn="l" defTabSz="228600" rtl="0" eaLnBrk="1" latinLnBrk="0" hangingPunct="1">
        <a:lnSpc>
          <a:spcPct val="100000"/>
        </a:lnSpc>
        <a:spcBef>
          <a:spcPts val="0"/>
        </a:spcBef>
        <a:spcAft>
          <a:spcPts val="1200"/>
        </a:spcAft>
        <a:buFont typeface="System Font"/>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5ACBF0"/>
          </p15:clr>
        </p15:guide>
        <p15:guide id="2" orient="horz" pos="3976">
          <p15:clr>
            <a:srgbClr val="5ACBF0"/>
          </p15:clr>
        </p15:guide>
        <p15:guide id="3" pos="240">
          <p15:clr>
            <a:srgbClr val="5ACBF0"/>
          </p15:clr>
        </p15:guide>
        <p15:guide id="4" pos="7440">
          <p15:clr>
            <a:srgbClr val="5ACBF0"/>
          </p15:clr>
        </p15:guide>
        <p15:guide id="5" orient="horz" pos="4148">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215457144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 id="2147483818" r:id="rId39"/>
    <p:sldLayoutId id="2147483819" r:id="rId40"/>
    <p:sldLayoutId id="2147483820" r:id="rId41"/>
    <p:sldLayoutId id="2147483821" r:id="rId42"/>
    <p:sldLayoutId id="2147483822" r:id="rId43"/>
    <p:sldLayoutId id="2147483823" r:id="rId44"/>
    <p:sldLayoutId id="2147483824" r:id="rId45"/>
    <p:sldLayoutId id="2147483825" r:id="rId46"/>
    <p:sldLayoutId id="2147483826" r:id="rId47"/>
    <p:sldLayoutId id="2147483827"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28.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5.png"/><Relationship Id="rId1" Type="http://schemas.openxmlformats.org/officeDocument/2006/relationships/slideLayout" Target="../slideLayouts/slideLayout128.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6.png"/><Relationship Id="rId1" Type="http://schemas.openxmlformats.org/officeDocument/2006/relationships/slideLayout" Target="../slideLayouts/slideLayout128.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7.png"/><Relationship Id="rId1" Type="http://schemas.openxmlformats.org/officeDocument/2006/relationships/slideLayout" Target="../slideLayouts/slideLayout1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47.png"/><Relationship Id="rId1" Type="http://schemas.openxmlformats.org/officeDocument/2006/relationships/slideLayout" Target="../slideLayouts/slideLayout128.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48.png"/><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8.xml"/></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28.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33.xml"/><Relationship Id="rId4" Type="http://schemas.openxmlformats.org/officeDocument/2006/relationships/image" Target="../media/image40.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linkedin.com/company/accenture-sea/videos/native/urn:li:ugcPost:6920188961457909760/" TargetMode="Externa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hyperlink" Target="https://www.accenture.com/id-en/careers/life-at-accenture/entry-level" TargetMode="External"/><Relationship Id="rId2" Type="http://schemas.openxmlformats.org/officeDocument/2006/relationships/hyperlink" Target="https://www.accenture.com/id-en/careers" TargetMode="External"/><Relationship Id="rId1" Type="http://schemas.openxmlformats.org/officeDocument/2006/relationships/slideLayout" Target="../slideLayouts/slideLayout65.xml"/><Relationship Id="rId6" Type="http://schemas.openxmlformats.org/officeDocument/2006/relationships/hyperlink" Target="mailto:michael.a.alejandro@accenture.com" TargetMode="External"/><Relationship Id="rId5" Type="http://schemas.openxmlformats.org/officeDocument/2006/relationships/hyperlink" Target="mailto:nada.r.lusarda@accenture.com" TargetMode="External"/><Relationship Id="rId4" Type="http://schemas.openxmlformats.org/officeDocument/2006/relationships/hyperlink" Target="https://www.accenture.com/id-en/careers/life-at-accenture/internships-career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0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FB5035-7C72-43BF-A8DB-A7280ED54461}"/>
              </a:ext>
            </a:extLst>
          </p:cNvPr>
          <p:cNvSpPr>
            <a:spLocks noGrp="1"/>
          </p:cNvSpPr>
          <p:nvPr>
            <p:ph type="ctrTitle"/>
          </p:nvPr>
        </p:nvSpPr>
        <p:spPr bwMode="white"/>
        <p:txBody>
          <a:bodyPr/>
          <a:lstStyle/>
          <a:p>
            <a:r>
              <a:rPr lang="en-US"/>
              <a:t>Dynamic Programming in AI</a:t>
            </a:r>
          </a:p>
        </p:txBody>
      </p:sp>
      <p:sp>
        <p:nvSpPr>
          <p:cNvPr id="6" name="Subtitle 5">
            <a:extLst>
              <a:ext uri="{FF2B5EF4-FFF2-40B4-BE49-F238E27FC236}">
                <a16:creationId xmlns:a16="http://schemas.microsoft.com/office/drawing/2014/main" id="{61244AFF-6411-4B84-BA88-9244C012597F}"/>
              </a:ext>
            </a:extLst>
          </p:cNvPr>
          <p:cNvSpPr>
            <a:spLocks noGrp="1"/>
          </p:cNvSpPr>
          <p:nvPr>
            <p:ph type="body" sz="quarter" idx="13"/>
          </p:nvPr>
        </p:nvSpPr>
        <p:spPr bwMode="white"/>
        <p:txBody>
          <a:bodyPr/>
          <a:lstStyle/>
          <a:p>
            <a:r>
              <a:rPr lang="en-US"/>
              <a:t>From DTW to Fast DTW</a:t>
            </a:r>
          </a:p>
        </p:txBody>
      </p:sp>
      <p:sp>
        <p:nvSpPr>
          <p:cNvPr id="5" name="Text Placeholder 4">
            <a:extLst>
              <a:ext uri="{FF2B5EF4-FFF2-40B4-BE49-F238E27FC236}">
                <a16:creationId xmlns:a16="http://schemas.microsoft.com/office/drawing/2014/main" id="{3519C304-423F-4288-926C-47BD259C6706}"/>
              </a:ext>
            </a:extLst>
          </p:cNvPr>
          <p:cNvSpPr>
            <a:spLocks noGrp="1"/>
          </p:cNvSpPr>
          <p:nvPr>
            <p:ph type="body" sz="quarter" idx="12"/>
          </p:nvPr>
        </p:nvSpPr>
        <p:spPr bwMode="white"/>
        <p:txBody>
          <a:bodyPr/>
          <a:lstStyle/>
          <a:p>
            <a:r>
              <a:rPr lang="en-US"/>
              <a:t>Poerwiyanto</a:t>
            </a:r>
          </a:p>
          <a:p>
            <a:r>
              <a:rPr lang="en-US"/>
              <a:t>Data Scientist</a:t>
            </a:r>
          </a:p>
          <a:p>
            <a:r>
              <a:rPr lang="en-US"/>
              <a:t>Accenture Applied Intelligence Indonesia</a:t>
            </a:r>
          </a:p>
        </p:txBody>
      </p:sp>
    </p:spTree>
    <p:extLst>
      <p:ext uri="{BB962C8B-B14F-4D97-AF65-F5344CB8AC3E}">
        <p14:creationId xmlns:p14="http://schemas.microsoft.com/office/powerpoint/2010/main" val="217193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ibonacci Numbers</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Overview</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t>A series of numbers in which each number is the sum of the two preceding numbers</a:t>
            </a:r>
          </a:p>
          <a:p>
            <a:r>
              <a:rPr lang="en-US"/>
              <a:t>The first 10 Fibonacci numbers</a:t>
            </a:r>
          </a:p>
          <a:p>
            <a:pPr marL="0" indent="0">
              <a:buNone/>
            </a:pPr>
            <a:endParaRPr lang="en-US"/>
          </a:p>
          <a:p>
            <a:pPr marL="0" indent="0" algn="ctr">
              <a:buNone/>
            </a:pPr>
            <a:r>
              <a:rPr lang="en-US"/>
              <a:t>0, 1, 1, 2, 3, 5, 8, 13, 21, 34, ...</a:t>
            </a:r>
          </a:p>
          <a:p>
            <a:pPr marL="0" indent="0" algn="ctr">
              <a:buNone/>
            </a:pPr>
            <a:endParaRPr lang="en-US"/>
          </a:p>
          <a:p>
            <a:r>
              <a:rPr lang="en-US"/>
              <a:t>Can be defined by simple recurrence</a:t>
            </a:r>
          </a:p>
          <a:p>
            <a:pPr marL="0" indent="0">
              <a:buNone/>
            </a:pPr>
            <a:endParaRPr lang="en-US"/>
          </a:p>
          <a:p>
            <a:pPr marL="0" indent="0" algn="ctr">
              <a:buNone/>
            </a:pPr>
            <a:r>
              <a:rPr lang="en-US"/>
              <a:t>F(n) = F(n – 1) + F(n – 2)     for n &gt; 1</a:t>
            </a:r>
          </a:p>
          <a:p>
            <a:pPr marL="0" indent="0" algn="ctr">
              <a:buNone/>
            </a:pPr>
            <a:r>
              <a:rPr lang="en-US"/>
              <a:t>with F(0) = 0 and F(1) = 1</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0</a:t>
            </a:fld>
            <a:endParaRPr lang="en-US"/>
          </a:p>
        </p:txBody>
      </p:sp>
    </p:spTree>
    <p:extLst>
      <p:ext uri="{BB962C8B-B14F-4D97-AF65-F5344CB8AC3E}">
        <p14:creationId xmlns:p14="http://schemas.microsoft.com/office/powerpoint/2010/main" val="3168338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ibonacci Numbers</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Overlapping Subproblems</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1</a:t>
            </a:fld>
            <a:endParaRPr lang="en-US"/>
          </a:p>
        </p:txBody>
      </p:sp>
      <p:sp>
        <p:nvSpPr>
          <p:cNvPr id="9" name="Rectangle 8">
            <a:extLst>
              <a:ext uri="{FF2B5EF4-FFF2-40B4-BE49-F238E27FC236}">
                <a16:creationId xmlns:a16="http://schemas.microsoft.com/office/drawing/2014/main" id="{6E119D17-4526-473C-AF64-B94317FD4250}"/>
              </a:ext>
            </a:extLst>
          </p:cNvPr>
          <p:cNvSpPr/>
          <p:nvPr/>
        </p:nvSpPr>
        <p:spPr>
          <a:xfrm>
            <a:off x="5412658" y="1619042"/>
            <a:ext cx="1366684" cy="688258"/>
          </a:xfrm>
          <a:prstGeom prst="rect">
            <a:avLst/>
          </a:prstGeom>
          <a:ln w="28575">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a:solidFill>
                  <a:schemeClr val="tx1"/>
                </a:solidFill>
              </a:rPr>
              <a:t>Fib (4)</a:t>
            </a:r>
            <a:endParaRPr lang="en-ID" err="1">
              <a:solidFill>
                <a:schemeClr val="tx1"/>
              </a:solidFill>
            </a:endParaRPr>
          </a:p>
        </p:txBody>
      </p:sp>
      <p:sp>
        <p:nvSpPr>
          <p:cNvPr id="10" name="Rectangle 9">
            <a:extLst>
              <a:ext uri="{FF2B5EF4-FFF2-40B4-BE49-F238E27FC236}">
                <a16:creationId xmlns:a16="http://schemas.microsoft.com/office/drawing/2014/main" id="{ED626F4E-E52E-4746-86DA-E20D1818A467}"/>
              </a:ext>
            </a:extLst>
          </p:cNvPr>
          <p:cNvSpPr/>
          <p:nvPr/>
        </p:nvSpPr>
        <p:spPr>
          <a:xfrm>
            <a:off x="3352800" y="2740742"/>
            <a:ext cx="1366684" cy="688258"/>
          </a:xfrm>
          <a:prstGeom prst="rect">
            <a:avLst/>
          </a:prstGeom>
          <a:ln w="28575">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tIns="91440" bIns="91440" rtlCol="0" anchor="ctr"/>
          <a:lstStyle/>
          <a:p>
            <a:pPr algn="ctr"/>
            <a:r>
              <a:rPr lang="en-US">
                <a:solidFill>
                  <a:schemeClr val="tx1"/>
                </a:solidFill>
              </a:rPr>
              <a:t>Fib (3)</a:t>
            </a:r>
            <a:endParaRPr lang="en-ID" err="1">
              <a:solidFill>
                <a:schemeClr val="tx1"/>
              </a:solidFill>
            </a:endParaRPr>
          </a:p>
        </p:txBody>
      </p:sp>
      <p:sp>
        <p:nvSpPr>
          <p:cNvPr id="11" name="Rectangle 10">
            <a:extLst>
              <a:ext uri="{FF2B5EF4-FFF2-40B4-BE49-F238E27FC236}">
                <a16:creationId xmlns:a16="http://schemas.microsoft.com/office/drawing/2014/main" id="{C6D405BE-6FA8-4282-AB6F-7067479EA601}"/>
              </a:ext>
            </a:extLst>
          </p:cNvPr>
          <p:cNvSpPr/>
          <p:nvPr/>
        </p:nvSpPr>
        <p:spPr>
          <a:xfrm>
            <a:off x="7472518" y="2740742"/>
            <a:ext cx="1366684" cy="688258"/>
          </a:xfrm>
          <a:prstGeom prst="rect">
            <a:avLst/>
          </a:prstGeom>
          <a:ln w="28575">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r>
              <a:rPr lang="en-US">
                <a:solidFill>
                  <a:schemeClr val="tx1"/>
                </a:solidFill>
              </a:rPr>
              <a:t>Fib (2)</a:t>
            </a:r>
            <a:endParaRPr lang="en-ID" err="1">
              <a:solidFill>
                <a:schemeClr val="tx1"/>
              </a:solidFill>
            </a:endParaRPr>
          </a:p>
        </p:txBody>
      </p:sp>
      <p:cxnSp>
        <p:nvCxnSpPr>
          <p:cNvPr id="13" name="Straight Arrow Connector 12">
            <a:extLst>
              <a:ext uri="{FF2B5EF4-FFF2-40B4-BE49-F238E27FC236}">
                <a16:creationId xmlns:a16="http://schemas.microsoft.com/office/drawing/2014/main" id="{BF30F84E-1B4A-4DA6-88AE-012F9C2FFB08}"/>
              </a:ext>
            </a:extLst>
          </p:cNvPr>
          <p:cNvCxnSpPr>
            <a:stCxn id="9" idx="2"/>
            <a:endCxn id="10" idx="0"/>
          </p:cNvCxnSpPr>
          <p:nvPr/>
        </p:nvCxnSpPr>
        <p:spPr>
          <a:xfrm flipH="1">
            <a:off x="4036142" y="2307300"/>
            <a:ext cx="2059858" cy="43344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4FEED71-197E-481C-AA68-1221F66F6E06}"/>
              </a:ext>
            </a:extLst>
          </p:cNvPr>
          <p:cNvCxnSpPr>
            <a:stCxn id="9" idx="2"/>
            <a:endCxn id="11" idx="0"/>
          </p:cNvCxnSpPr>
          <p:nvPr/>
        </p:nvCxnSpPr>
        <p:spPr>
          <a:xfrm>
            <a:off x="6096000" y="2307300"/>
            <a:ext cx="2059860" cy="43344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AFD0DF6-0BBC-4388-91E5-765B18E459FE}"/>
              </a:ext>
            </a:extLst>
          </p:cNvPr>
          <p:cNvSpPr/>
          <p:nvPr/>
        </p:nvSpPr>
        <p:spPr>
          <a:xfrm>
            <a:off x="2322867" y="4122174"/>
            <a:ext cx="1366684" cy="688258"/>
          </a:xfrm>
          <a:prstGeom prst="rect">
            <a:avLst/>
          </a:prstGeom>
          <a:ln w="28575">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tIns="91440" bIns="91440" rtlCol="0" anchor="ctr"/>
          <a:lstStyle/>
          <a:p>
            <a:pPr algn="ctr"/>
            <a:r>
              <a:rPr lang="en-US">
                <a:solidFill>
                  <a:schemeClr val="tx1"/>
                </a:solidFill>
              </a:rPr>
              <a:t>Fib (2)</a:t>
            </a:r>
            <a:endParaRPr lang="en-ID" err="1">
              <a:solidFill>
                <a:schemeClr val="tx1"/>
              </a:solidFill>
            </a:endParaRPr>
          </a:p>
        </p:txBody>
      </p:sp>
      <p:sp>
        <p:nvSpPr>
          <p:cNvPr id="21" name="Rectangle 20">
            <a:extLst>
              <a:ext uri="{FF2B5EF4-FFF2-40B4-BE49-F238E27FC236}">
                <a16:creationId xmlns:a16="http://schemas.microsoft.com/office/drawing/2014/main" id="{245EDC78-716C-4122-99DA-50B8856D3AAF}"/>
              </a:ext>
            </a:extLst>
          </p:cNvPr>
          <p:cNvSpPr/>
          <p:nvPr/>
        </p:nvSpPr>
        <p:spPr>
          <a:xfrm>
            <a:off x="4382729" y="4122174"/>
            <a:ext cx="1366684" cy="688258"/>
          </a:xfrm>
          <a:prstGeom prst="rect">
            <a:avLst/>
          </a:prstGeom>
          <a:ln w="28575">
            <a:headEnd type="none" w="med" len="med"/>
            <a:tailEnd type="none" w="med" len="med"/>
          </a:ln>
        </p:spPr>
        <p:style>
          <a:lnRef idx="2">
            <a:schemeClr val="accent6"/>
          </a:lnRef>
          <a:fillRef idx="1">
            <a:schemeClr val="lt1"/>
          </a:fillRef>
          <a:effectRef idx="0">
            <a:schemeClr val="accent6"/>
          </a:effectRef>
          <a:fontRef idx="minor">
            <a:schemeClr val="dk1"/>
          </a:fontRef>
        </p:style>
        <p:txBody>
          <a:bodyPr tIns="91440" bIns="91440" rtlCol="0" anchor="ctr"/>
          <a:lstStyle/>
          <a:p>
            <a:pPr algn="ctr"/>
            <a:r>
              <a:rPr lang="en-US">
                <a:solidFill>
                  <a:schemeClr val="tx1"/>
                </a:solidFill>
              </a:rPr>
              <a:t>Fib (1)</a:t>
            </a:r>
            <a:endParaRPr lang="en-ID" err="1">
              <a:solidFill>
                <a:schemeClr val="tx1"/>
              </a:solidFill>
            </a:endParaRPr>
          </a:p>
        </p:txBody>
      </p:sp>
      <p:sp>
        <p:nvSpPr>
          <p:cNvPr id="22" name="Rectangle 21">
            <a:extLst>
              <a:ext uri="{FF2B5EF4-FFF2-40B4-BE49-F238E27FC236}">
                <a16:creationId xmlns:a16="http://schemas.microsoft.com/office/drawing/2014/main" id="{AD8F9CDC-CAF1-46B5-AEDC-BCB0DB9B6205}"/>
              </a:ext>
            </a:extLst>
          </p:cNvPr>
          <p:cNvSpPr/>
          <p:nvPr/>
        </p:nvSpPr>
        <p:spPr>
          <a:xfrm>
            <a:off x="6442589" y="4122174"/>
            <a:ext cx="1366684" cy="688258"/>
          </a:xfrm>
          <a:prstGeom prst="rect">
            <a:avLst/>
          </a:prstGeom>
          <a:ln w="28575">
            <a:headEnd type="none" w="med" len="med"/>
            <a:tailEnd type="none" w="med" len="med"/>
          </a:ln>
        </p:spPr>
        <p:style>
          <a:lnRef idx="2">
            <a:schemeClr val="accent6"/>
          </a:lnRef>
          <a:fillRef idx="1">
            <a:schemeClr val="lt1"/>
          </a:fillRef>
          <a:effectRef idx="0">
            <a:schemeClr val="accent6"/>
          </a:effectRef>
          <a:fontRef idx="minor">
            <a:schemeClr val="dk1"/>
          </a:fontRef>
        </p:style>
        <p:txBody>
          <a:bodyPr tIns="91440" bIns="91440" rtlCol="0" anchor="ctr"/>
          <a:lstStyle/>
          <a:p>
            <a:pPr algn="ctr"/>
            <a:r>
              <a:rPr lang="en-US">
                <a:solidFill>
                  <a:schemeClr val="tx1"/>
                </a:solidFill>
              </a:rPr>
              <a:t>Fib (1)</a:t>
            </a:r>
            <a:endParaRPr lang="en-ID" err="1">
              <a:solidFill>
                <a:schemeClr val="tx1"/>
              </a:solidFill>
            </a:endParaRPr>
          </a:p>
        </p:txBody>
      </p:sp>
      <p:sp>
        <p:nvSpPr>
          <p:cNvPr id="23" name="Rectangle 22">
            <a:extLst>
              <a:ext uri="{FF2B5EF4-FFF2-40B4-BE49-F238E27FC236}">
                <a16:creationId xmlns:a16="http://schemas.microsoft.com/office/drawing/2014/main" id="{C52BD0AA-7E84-4938-9165-86C978F49A60}"/>
              </a:ext>
            </a:extLst>
          </p:cNvPr>
          <p:cNvSpPr/>
          <p:nvPr/>
        </p:nvSpPr>
        <p:spPr>
          <a:xfrm>
            <a:off x="8502449" y="4122174"/>
            <a:ext cx="1366684" cy="688258"/>
          </a:xfrm>
          <a:prstGeom prst="rect">
            <a:avLst/>
          </a:prstGeom>
          <a:ln w="28575">
            <a:headEnd type="none" w="med" len="med"/>
            <a:tailEnd type="none" w="med" len="med"/>
          </a:ln>
        </p:spPr>
        <p:style>
          <a:lnRef idx="2">
            <a:schemeClr val="accent6"/>
          </a:lnRef>
          <a:fillRef idx="1">
            <a:schemeClr val="lt1"/>
          </a:fillRef>
          <a:effectRef idx="0">
            <a:schemeClr val="accent6"/>
          </a:effectRef>
          <a:fontRef idx="minor">
            <a:schemeClr val="dk1"/>
          </a:fontRef>
        </p:style>
        <p:txBody>
          <a:bodyPr tIns="91440" bIns="91440" rtlCol="0" anchor="ctr"/>
          <a:lstStyle/>
          <a:p>
            <a:pPr algn="ctr"/>
            <a:r>
              <a:rPr lang="en-US">
                <a:solidFill>
                  <a:schemeClr val="tx1"/>
                </a:solidFill>
              </a:rPr>
              <a:t>Fib (0)</a:t>
            </a:r>
            <a:endParaRPr lang="en-ID" err="1">
              <a:solidFill>
                <a:schemeClr val="tx1"/>
              </a:solidFill>
            </a:endParaRPr>
          </a:p>
        </p:txBody>
      </p:sp>
      <p:sp>
        <p:nvSpPr>
          <p:cNvPr id="24" name="Rectangle 23">
            <a:extLst>
              <a:ext uri="{FF2B5EF4-FFF2-40B4-BE49-F238E27FC236}">
                <a16:creationId xmlns:a16="http://schemas.microsoft.com/office/drawing/2014/main" id="{BD1A31B0-2CAE-4EC9-944D-544028343547}"/>
              </a:ext>
            </a:extLst>
          </p:cNvPr>
          <p:cNvSpPr/>
          <p:nvPr/>
        </p:nvSpPr>
        <p:spPr>
          <a:xfrm>
            <a:off x="1270818" y="5503606"/>
            <a:ext cx="1366684" cy="688258"/>
          </a:xfrm>
          <a:prstGeom prst="rect">
            <a:avLst/>
          </a:prstGeom>
          <a:ln w="28575">
            <a:headEnd type="none" w="med" len="med"/>
            <a:tailEnd type="none" w="med" len="med"/>
          </a:ln>
        </p:spPr>
        <p:style>
          <a:lnRef idx="2">
            <a:schemeClr val="accent6"/>
          </a:lnRef>
          <a:fillRef idx="1">
            <a:schemeClr val="lt1"/>
          </a:fillRef>
          <a:effectRef idx="0">
            <a:schemeClr val="accent6"/>
          </a:effectRef>
          <a:fontRef idx="minor">
            <a:schemeClr val="dk1"/>
          </a:fontRef>
        </p:style>
        <p:txBody>
          <a:bodyPr tIns="91440" bIns="91440" rtlCol="0" anchor="ctr"/>
          <a:lstStyle/>
          <a:p>
            <a:pPr algn="ctr"/>
            <a:r>
              <a:rPr lang="en-US">
                <a:solidFill>
                  <a:schemeClr val="tx1"/>
                </a:solidFill>
              </a:rPr>
              <a:t>Fib (1)</a:t>
            </a:r>
            <a:endParaRPr lang="en-ID" err="1">
              <a:solidFill>
                <a:schemeClr val="tx1"/>
              </a:solidFill>
            </a:endParaRPr>
          </a:p>
        </p:txBody>
      </p:sp>
      <p:sp>
        <p:nvSpPr>
          <p:cNvPr id="25" name="Rectangle 24">
            <a:extLst>
              <a:ext uri="{FF2B5EF4-FFF2-40B4-BE49-F238E27FC236}">
                <a16:creationId xmlns:a16="http://schemas.microsoft.com/office/drawing/2014/main" id="{FF1534DB-1A72-47CA-B8A1-84E2DE02E7C3}"/>
              </a:ext>
            </a:extLst>
          </p:cNvPr>
          <p:cNvSpPr/>
          <p:nvPr/>
        </p:nvSpPr>
        <p:spPr>
          <a:xfrm>
            <a:off x="3330678" y="5503606"/>
            <a:ext cx="1366684" cy="688258"/>
          </a:xfrm>
          <a:prstGeom prst="rect">
            <a:avLst/>
          </a:prstGeom>
          <a:ln w="28575">
            <a:headEnd type="none" w="med" len="med"/>
            <a:tailEnd type="none" w="med" len="med"/>
          </a:ln>
        </p:spPr>
        <p:style>
          <a:lnRef idx="2">
            <a:schemeClr val="accent6"/>
          </a:lnRef>
          <a:fillRef idx="1">
            <a:schemeClr val="lt1"/>
          </a:fillRef>
          <a:effectRef idx="0">
            <a:schemeClr val="accent6"/>
          </a:effectRef>
          <a:fontRef idx="minor">
            <a:schemeClr val="dk1"/>
          </a:fontRef>
        </p:style>
        <p:txBody>
          <a:bodyPr tIns="91440" bIns="91440" rtlCol="0" anchor="ctr"/>
          <a:lstStyle/>
          <a:p>
            <a:pPr algn="ctr"/>
            <a:r>
              <a:rPr lang="en-US">
                <a:solidFill>
                  <a:schemeClr val="tx1"/>
                </a:solidFill>
              </a:rPr>
              <a:t>Fib (0)</a:t>
            </a:r>
            <a:endParaRPr lang="en-ID" err="1">
              <a:solidFill>
                <a:schemeClr val="tx1"/>
              </a:solidFill>
            </a:endParaRPr>
          </a:p>
        </p:txBody>
      </p:sp>
      <p:cxnSp>
        <p:nvCxnSpPr>
          <p:cNvPr id="27" name="Straight Arrow Connector 26">
            <a:extLst>
              <a:ext uri="{FF2B5EF4-FFF2-40B4-BE49-F238E27FC236}">
                <a16:creationId xmlns:a16="http://schemas.microsoft.com/office/drawing/2014/main" id="{C426290B-824D-4C5B-AB58-F37D5DCB84F2}"/>
              </a:ext>
            </a:extLst>
          </p:cNvPr>
          <p:cNvCxnSpPr>
            <a:stCxn id="10" idx="2"/>
            <a:endCxn id="18" idx="0"/>
          </p:cNvCxnSpPr>
          <p:nvPr/>
        </p:nvCxnSpPr>
        <p:spPr>
          <a:xfrm flipH="1">
            <a:off x="3006209" y="3429000"/>
            <a:ext cx="1029933"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E6DCCEF4-5FC0-4F5F-952F-2593E0B4BEED}"/>
              </a:ext>
            </a:extLst>
          </p:cNvPr>
          <p:cNvCxnSpPr>
            <a:stCxn id="10" idx="2"/>
            <a:endCxn id="21" idx="0"/>
          </p:cNvCxnSpPr>
          <p:nvPr/>
        </p:nvCxnSpPr>
        <p:spPr>
          <a:xfrm>
            <a:off x="4036142" y="3429000"/>
            <a:ext cx="1029929"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10E73F5-A0CA-4DCB-87F8-D0FBD33478E9}"/>
              </a:ext>
            </a:extLst>
          </p:cNvPr>
          <p:cNvCxnSpPr>
            <a:stCxn id="11" idx="2"/>
            <a:endCxn id="22" idx="0"/>
          </p:cNvCxnSpPr>
          <p:nvPr/>
        </p:nvCxnSpPr>
        <p:spPr>
          <a:xfrm flipH="1">
            <a:off x="7125931" y="3429000"/>
            <a:ext cx="1029929"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45B2F2F-662F-4A64-B8B9-59AD7F80A293}"/>
              </a:ext>
            </a:extLst>
          </p:cNvPr>
          <p:cNvCxnSpPr>
            <a:stCxn id="11" idx="2"/>
            <a:endCxn id="23" idx="0"/>
          </p:cNvCxnSpPr>
          <p:nvPr/>
        </p:nvCxnSpPr>
        <p:spPr>
          <a:xfrm>
            <a:off x="8155860" y="3429000"/>
            <a:ext cx="1029931"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B587528-759B-46D1-8C73-3CFC89E5CC99}"/>
              </a:ext>
            </a:extLst>
          </p:cNvPr>
          <p:cNvCxnSpPr>
            <a:stCxn id="18" idx="2"/>
            <a:endCxn id="24" idx="0"/>
          </p:cNvCxnSpPr>
          <p:nvPr/>
        </p:nvCxnSpPr>
        <p:spPr>
          <a:xfrm flipH="1">
            <a:off x="1954160" y="4810432"/>
            <a:ext cx="1052049"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36CB137-4244-4E2B-8B4B-404042DC72E1}"/>
              </a:ext>
            </a:extLst>
          </p:cNvPr>
          <p:cNvCxnSpPr>
            <a:stCxn id="18" idx="2"/>
            <a:endCxn id="25" idx="0"/>
          </p:cNvCxnSpPr>
          <p:nvPr/>
        </p:nvCxnSpPr>
        <p:spPr>
          <a:xfrm>
            <a:off x="3006209" y="4810432"/>
            <a:ext cx="1007811" cy="69317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1016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ibonacci Numbers</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Three Approaches in Solving Fibonacci Numbers</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dirty="0"/>
              <a:t>Non DP or recursive</a:t>
            </a:r>
            <a:br>
              <a:rPr lang="en-US" dirty="0"/>
            </a:br>
            <a:r>
              <a:rPr lang="en-US" dirty="0"/>
              <a:t>Runs in O(2</a:t>
            </a:r>
            <a:r>
              <a:rPr lang="en-US" baseline="30000" dirty="0"/>
              <a:t>N</a:t>
            </a:r>
            <a:r>
              <a:rPr lang="en-US" dirty="0"/>
              <a:t>) or exponential</a:t>
            </a:r>
            <a:br>
              <a:rPr lang="en-US" dirty="0"/>
            </a:br>
            <a:endParaRPr lang="en-US" dirty="0"/>
          </a:p>
          <a:p>
            <a:r>
              <a:rPr lang="en-US" dirty="0"/>
              <a:t>DP with </a:t>
            </a:r>
            <a:r>
              <a:rPr lang="en-US" dirty="0" err="1"/>
              <a:t>memoization</a:t>
            </a:r>
            <a:br>
              <a:rPr lang="en-US" dirty="0"/>
            </a:br>
            <a:r>
              <a:rPr lang="en-US" dirty="0"/>
              <a:t>Runs in O(N) or linear if done right</a:t>
            </a:r>
            <a:br>
              <a:rPr lang="en-US" dirty="0"/>
            </a:br>
            <a:endParaRPr lang="en-US" dirty="0"/>
          </a:p>
          <a:p>
            <a:r>
              <a:rPr lang="en-US" dirty="0"/>
              <a:t>DP with tabulation</a:t>
            </a:r>
            <a:br>
              <a:rPr lang="en-US" dirty="0"/>
            </a:br>
            <a:r>
              <a:rPr lang="en-US" dirty="0"/>
              <a:t>Runs in O(N) or linear</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2</a:t>
            </a:fld>
            <a:endParaRPr lang="en-US"/>
          </a:p>
        </p:txBody>
      </p:sp>
    </p:spTree>
    <p:extLst>
      <p:ext uri="{BB962C8B-B14F-4D97-AF65-F5344CB8AC3E}">
        <p14:creationId xmlns:p14="http://schemas.microsoft.com/office/powerpoint/2010/main" val="4000332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p:txBody>
          <a:bodyPr/>
          <a:lstStyle/>
          <a:p>
            <a:r>
              <a:rPr lang="en-US"/>
              <a:t>Dynamic Time Warping</a:t>
            </a:r>
          </a:p>
        </p:txBody>
      </p:sp>
      <p:sp>
        <p:nvSpPr>
          <p:cNvPr id="2" name="Text Placeholder 1">
            <a:extLst>
              <a:ext uri="{FF2B5EF4-FFF2-40B4-BE49-F238E27FC236}">
                <a16:creationId xmlns:a16="http://schemas.microsoft.com/office/drawing/2014/main" id="{D80B193A-C392-4007-B83A-2FCA7F238D20}"/>
              </a:ext>
            </a:extLst>
          </p:cNvPr>
          <p:cNvSpPr>
            <a:spLocks noGrp="1"/>
          </p:cNvSpPr>
          <p:nvPr>
            <p:ph type="body" sz="quarter" idx="16"/>
          </p:nvPr>
        </p:nvSpPr>
        <p:spPr/>
        <p:txBody>
          <a:bodyPr/>
          <a:lstStyle/>
          <a:p>
            <a:r>
              <a:rPr lang="en-ID" b="0" i="0">
                <a:solidFill>
                  <a:srgbClr val="000000"/>
                </a:solidFill>
                <a:effectLst/>
                <a:latin typeface="apple color emoji"/>
              </a:rPr>
              <a:t>😒</a:t>
            </a:r>
            <a:r>
              <a:rPr lang="en-US"/>
              <a:t>: Using python library?</a:t>
            </a:r>
          </a:p>
          <a:p>
            <a:r>
              <a:rPr lang="en-ID" b="0" i="0">
                <a:solidFill>
                  <a:srgbClr val="000000"/>
                </a:solidFill>
                <a:effectLst/>
                <a:latin typeface="apple color emoji"/>
              </a:rPr>
              <a:t>🤓</a:t>
            </a:r>
            <a:r>
              <a:rPr lang="en-US"/>
              <a:t>: No, from scratch</a:t>
            </a:r>
          </a:p>
          <a:p>
            <a:r>
              <a:rPr lang="en-ID" b="0" i="0">
                <a:solidFill>
                  <a:srgbClr val="000000"/>
                </a:solidFill>
                <a:effectLst/>
                <a:latin typeface="apple color emoji"/>
              </a:rPr>
              <a:t>😒</a:t>
            </a:r>
            <a:r>
              <a:rPr lang="en-US"/>
              <a:t>: Promise?</a:t>
            </a:r>
          </a:p>
          <a:p>
            <a:r>
              <a:rPr lang="en-ID" b="0" i="0">
                <a:solidFill>
                  <a:srgbClr val="000000"/>
                </a:solidFill>
                <a:effectLst/>
                <a:latin typeface="apple color emoji"/>
              </a:rPr>
              <a:t>🤓</a:t>
            </a:r>
            <a:r>
              <a:rPr lang="en-US"/>
              <a:t>: Yes, for real!</a:t>
            </a:r>
          </a:p>
        </p:txBody>
      </p:sp>
      <p:sp>
        <p:nvSpPr>
          <p:cNvPr id="7" name="Picture Placeholder 6" descr="Drag picture to placeholder">
            <a:extLst>
              <a:ext uri="{FF2B5EF4-FFF2-40B4-BE49-F238E27FC236}">
                <a16:creationId xmlns:a16="http://schemas.microsoft.com/office/drawing/2014/main" id="{A9B3A3EC-A074-4884-A9F7-E7FD963574C7}"/>
              </a:ext>
            </a:extLst>
          </p:cNvPr>
          <p:cNvSpPr>
            <a:spLocks noGrp="1"/>
          </p:cNvSpPr>
          <p:nvPr>
            <p:ph type="pic" sz="quarter" idx="13"/>
          </p:nvPr>
        </p:nvSpPr>
        <p:spPr/>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17629565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Time Series is Almost Everywhere!</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endParaRPr lang="en-US"/>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4</a:t>
            </a:fld>
            <a:endParaRPr lang="en-US"/>
          </a:p>
        </p:txBody>
      </p:sp>
      <p:sp>
        <p:nvSpPr>
          <p:cNvPr id="23" name="TextBox 22">
            <a:extLst>
              <a:ext uri="{FF2B5EF4-FFF2-40B4-BE49-F238E27FC236}">
                <a16:creationId xmlns:a16="http://schemas.microsoft.com/office/drawing/2014/main" id="{A738F727-4C9C-4F53-BBD3-E579202DB154}"/>
              </a:ext>
            </a:extLst>
          </p:cNvPr>
          <p:cNvSpPr txBox="1"/>
          <p:nvPr/>
        </p:nvSpPr>
        <p:spPr>
          <a:xfrm>
            <a:off x="3036495" y="5395731"/>
            <a:ext cx="1366683" cy="678425"/>
          </a:xfrm>
          <a:prstGeom prst="rect">
            <a:avLst/>
          </a:prstGeom>
          <a:noFill/>
        </p:spPr>
        <p:txBody>
          <a:bodyPr wrap="none" lIns="0" tIns="0" rIns="0" bIns="0" rtlCol="0">
            <a:noAutofit/>
          </a:bodyPr>
          <a:lstStyle/>
          <a:p>
            <a:pPr algn="ctr" defTabSz="228600">
              <a:spcAft>
                <a:spcPts val="1200"/>
              </a:spcAft>
            </a:pPr>
            <a:r>
              <a:rPr lang="en-US" noProof="0"/>
              <a:t>Sensor Data</a:t>
            </a:r>
            <a:endParaRPr lang="en-ID" noProof="0"/>
          </a:p>
        </p:txBody>
      </p:sp>
      <p:grpSp>
        <p:nvGrpSpPr>
          <p:cNvPr id="24" name="Group 104" descr="Touch">
            <a:extLst>
              <a:ext uri="{FF2B5EF4-FFF2-40B4-BE49-F238E27FC236}">
                <a16:creationId xmlns:a16="http://schemas.microsoft.com/office/drawing/2014/main" id="{1D39A7BD-9E9B-4914-9594-1A060C978DA8}"/>
              </a:ext>
              <a:ext uri="{C183D7F6-B498-43B3-948B-1728B52AA6E4}">
                <adec:decorative xmlns:adec="http://schemas.microsoft.com/office/drawing/2017/decorative" val="0"/>
              </a:ext>
            </a:extLst>
          </p:cNvPr>
          <p:cNvGrpSpPr>
            <a:grpSpLocks noChangeAspect="1"/>
          </p:cNvGrpSpPr>
          <p:nvPr/>
        </p:nvGrpSpPr>
        <p:grpSpPr bwMode="auto">
          <a:xfrm>
            <a:off x="1386572" y="2146969"/>
            <a:ext cx="684000" cy="1028407"/>
            <a:chOff x="1443" y="2997"/>
            <a:chExt cx="284" cy="427"/>
          </a:xfrm>
          <a:solidFill>
            <a:schemeClr val="accent1"/>
          </a:solidFill>
        </p:grpSpPr>
        <p:sp>
          <p:nvSpPr>
            <p:cNvPr id="25" name="Freeform 105">
              <a:extLst>
                <a:ext uri="{FF2B5EF4-FFF2-40B4-BE49-F238E27FC236}">
                  <a16:creationId xmlns:a16="http://schemas.microsoft.com/office/drawing/2014/main" id="{C648D6FF-9804-44D5-B774-A6BAF2BABE88}"/>
                </a:ext>
              </a:extLst>
            </p:cNvPr>
            <p:cNvSpPr>
              <a:spLocks noEditPoints="1"/>
            </p:cNvSpPr>
            <p:nvPr/>
          </p:nvSpPr>
          <p:spPr bwMode="auto">
            <a:xfrm>
              <a:off x="1462" y="3104"/>
              <a:ext cx="261" cy="320"/>
            </a:xfrm>
            <a:custGeom>
              <a:avLst/>
              <a:gdLst>
                <a:gd name="T0" fmla="*/ 155 w 176"/>
                <a:gd name="T1" fmla="*/ 216 h 216"/>
                <a:gd name="T2" fmla="*/ 59 w 176"/>
                <a:gd name="T3" fmla="*/ 216 h 216"/>
                <a:gd name="T4" fmla="*/ 54 w 176"/>
                <a:gd name="T5" fmla="*/ 213 h 216"/>
                <a:gd name="T6" fmla="*/ 6 w 176"/>
                <a:gd name="T7" fmla="*/ 141 h 216"/>
                <a:gd name="T8" fmla="*/ 4 w 176"/>
                <a:gd name="T9" fmla="*/ 116 h 216"/>
                <a:gd name="T10" fmla="*/ 17 w 176"/>
                <a:gd name="T11" fmla="*/ 108 h 216"/>
                <a:gd name="T12" fmla="*/ 59 w 176"/>
                <a:gd name="T13" fmla="*/ 137 h 216"/>
                <a:gd name="T14" fmla="*/ 59 w 176"/>
                <a:gd name="T15" fmla="*/ 24 h 216"/>
                <a:gd name="T16" fmla="*/ 83 w 176"/>
                <a:gd name="T17" fmla="*/ 0 h 216"/>
                <a:gd name="T18" fmla="*/ 107 w 176"/>
                <a:gd name="T19" fmla="*/ 24 h 216"/>
                <a:gd name="T20" fmla="*/ 107 w 176"/>
                <a:gd name="T21" fmla="*/ 92 h 216"/>
                <a:gd name="T22" fmla="*/ 156 w 176"/>
                <a:gd name="T23" fmla="*/ 108 h 216"/>
                <a:gd name="T24" fmla="*/ 173 w 176"/>
                <a:gd name="T25" fmla="*/ 145 h 216"/>
                <a:gd name="T26" fmla="*/ 161 w 176"/>
                <a:gd name="T27" fmla="*/ 211 h 216"/>
                <a:gd name="T28" fmla="*/ 155 w 176"/>
                <a:gd name="T29" fmla="*/ 216 h 216"/>
                <a:gd name="T30" fmla="*/ 62 w 176"/>
                <a:gd name="T31" fmla="*/ 204 h 216"/>
                <a:gd name="T32" fmla="*/ 150 w 176"/>
                <a:gd name="T33" fmla="*/ 204 h 216"/>
                <a:gd name="T34" fmla="*/ 161 w 176"/>
                <a:gd name="T35" fmla="*/ 143 h 216"/>
                <a:gd name="T36" fmla="*/ 152 w 176"/>
                <a:gd name="T37" fmla="*/ 120 h 216"/>
                <a:gd name="T38" fmla="*/ 99 w 176"/>
                <a:gd name="T39" fmla="*/ 102 h 216"/>
                <a:gd name="T40" fmla="*/ 95 w 176"/>
                <a:gd name="T41" fmla="*/ 96 h 216"/>
                <a:gd name="T42" fmla="*/ 95 w 176"/>
                <a:gd name="T43" fmla="*/ 24 h 216"/>
                <a:gd name="T44" fmla="*/ 83 w 176"/>
                <a:gd name="T45" fmla="*/ 12 h 216"/>
                <a:gd name="T46" fmla="*/ 71 w 176"/>
                <a:gd name="T47" fmla="*/ 24 h 216"/>
                <a:gd name="T48" fmla="*/ 71 w 176"/>
                <a:gd name="T49" fmla="*/ 156 h 216"/>
                <a:gd name="T50" fmla="*/ 67 w 176"/>
                <a:gd name="T51" fmla="*/ 162 h 216"/>
                <a:gd name="T52" fmla="*/ 60 w 176"/>
                <a:gd name="T53" fmla="*/ 159 h 216"/>
                <a:gd name="T54" fmla="*/ 17 w 176"/>
                <a:gd name="T55" fmla="*/ 120 h 216"/>
                <a:gd name="T56" fmla="*/ 14 w 176"/>
                <a:gd name="T57" fmla="*/ 121 h 216"/>
                <a:gd name="T58" fmla="*/ 16 w 176"/>
                <a:gd name="T59" fmla="*/ 135 h 216"/>
                <a:gd name="T60" fmla="*/ 62 w 176"/>
                <a:gd name="T61"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16">
                  <a:moveTo>
                    <a:pt x="155" y="216"/>
                  </a:moveTo>
                  <a:cubicBezTo>
                    <a:pt x="59" y="216"/>
                    <a:pt x="59" y="216"/>
                    <a:pt x="59" y="216"/>
                  </a:cubicBezTo>
                  <a:cubicBezTo>
                    <a:pt x="57" y="216"/>
                    <a:pt x="55" y="215"/>
                    <a:pt x="54" y="213"/>
                  </a:cubicBezTo>
                  <a:cubicBezTo>
                    <a:pt x="6" y="141"/>
                    <a:pt x="6" y="141"/>
                    <a:pt x="6" y="141"/>
                  </a:cubicBezTo>
                  <a:cubicBezTo>
                    <a:pt x="2" y="135"/>
                    <a:pt x="0" y="124"/>
                    <a:pt x="4" y="116"/>
                  </a:cubicBezTo>
                  <a:cubicBezTo>
                    <a:pt x="6" y="111"/>
                    <a:pt x="11" y="108"/>
                    <a:pt x="17" y="108"/>
                  </a:cubicBezTo>
                  <a:cubicBezTo>
                    <a:pt x="30" y="108"/>
                    <a:pt x="42" y="113"/>
                    <a:pt x="59" y="137"/>
                  </a:cubicBezTo>
                  <a:cubicBezTo>
                    <a:pt x="59" y="24"/>
                    <a:pt x="59" y="24"/>
                    <a:pt x="59" y="24"/>
                  </a:cubicBezTo>
                  <a:cubicBezTo>
                    <a:pt x="59" y="11"/>
                    <a:pt x="70" y="0"/>
                    <a:pt x="83" y="0"/>
                  </a:cubicBezTo>
                  <a:cubicBezTo>
                    <a:pt x="96" y="0"/>
                    <a:pt x="107" y="11"/>
                    <a:pt x="107" y="24"/>
                  </a:cubicBezTo>
                  <a:cubicBezTo>
                    <a:pt x="107" y="92"/>
                    <a:pt x="107" y="92"/>
                    <a:pt x="107" y="92"/>
                  </a:cubicBezTo>
                  <a:cubicBezTo>
                    <a:pt x="156" y="108"/>
                    <a:pt x="156" y="108"/>
                    <a:pt x="156" y="108"/>
                  </a:cubicBezTo>
                  <a:cubicBezTo>
                    <a:pt x="172" y="113"/>
                    <a:pt x="176" y="131"/>
                    <a:pt x="173" y="145"/>
                  </a:cubicBezTo>
                  <a:cubicBezTo>
                    <a:pt x="161" y="211"/>
                    <a:pt x="161" y="211"/>
                    <a:pt x="161" y="211"/>
                  </a:cubicBezTo>
                  <a:cubicBezTo>
                    <a:pt x="161" y="214"/>
                    <a:pt x="158" y="216"/>
                    <a:pt x="155" y="216"/>
                  </a:cubicBezTo>
                  <a:close/>
                  <a:moveTo>
                    <a:pt x="62" y="204"/>
                  </a:moveTo>
                  <a:cubicBezTo>
                    <a:pt x="150" y="204"/>
                    <a:pt x="150" y="204"/>
                    <a:pt x="150" y="204"/>
                  </a:cubicBezTo>
                  <a:cubicBezTo>
                    <a:pt x="161" y="143"/>
                    <a:pt x="161" y="143"/>
                    <a:pt x="161" y="143"/>
                  </a:cubicBezTo>
                  <a:cubicBezTo>
                    <a:pt x="163" y="134"/>
                    <a:pt x="161" y="123"/>
                    <a:pt x="152" y="120"/>
                  </a:cubicBezTo>
                  <a:cubicBezTo>
                    <a:pt x="99" y="102"/>
                    <a:pt x="99" y="102"/>
                    <a:pt x="99" y="102"/>
                  </a:cubicBezTo>
                  <a:cubicBezTo>
                    <a:pt x="97" y="101"/>
                    <a:pt x="95" y="99"/>
                    <a:pt x="95" y="96"/>
                  </a:cubicBezTo>
                  <a:cubicBezTo>
                    <a:pt x="95" y="24"/>
                    <a:pt x="95" y="24"/>
                    <a:pt x="95" y="24"/>
                  </a:cubicBezTo>
                  <a:cubicBezTo>
                    <a:pt x="95" y="17"/>
                    <a:pt x="90" y="12"/>
                    <a:pt x="83" y="12"/>
                  </a:cubicBezTo>
                  <a:cubicBezTo>
                    <a:pt x="77" y="12"/>
                    <a:pt x="71" y="18"/>
                    <a:pt x="71" y="24"/>
                  </a:cubicBezTo>
                  <a:cubicBezTo>
                    <a:pt x="71" y="156"/>
                    <a:pt x="71" y="156"/>
                    <a:pt x="71" y="156"/>
                  </a:cubicBezTo>
                  <a:cubicBezTo>
                    <a:pt x="71" y="159"/>
                    <a:pt x="69" y="161"/>
                    <a:pt x="67" y="162"/>
                  </a:cubicBezTo>
                  <a:cubicBezTo>
                    <a:pt x="64" y="163"/>
                    <a:pt x="62" y="162"/>
                    <a:pt x="60" y="159"/>
                  </a:cubicBezTo>
                  <a:cubicBezTo>
                    <a:pt x="37" y="123"/>
                    <a:pt x="26" y="120"/>
                    <a:pt x="17" y="120"/>
                  </a:cubicBezTo>
                  <a:cubicBezTo>
                    <a:pt x="15" y="120"/>
                    <a:pt x="15" y="121"/>
                    <a:pt x="14" y="121"/>
                  </a:cubicBezTo>
                  <a:cubicBezTo>
                    <a:pt x="13" y="124"/>
                    <a:pt x="14" y="131"/>
                    <a:pt x="16" y="135"/>
                  </a:cubicBezTo>
                  <a:lnTo>
                    <a:pt x="6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6" name="Freeform 106">
              <a:extLst>
                <a:ext uri="{FF2B5EF4-FFF2-40B4-BE49-F238E27FC236}">
                  <a16:creationId xmlns:a16="http://schemas.microsoft.com/office/drawing/2014/main" id="{69506976-0266-4DA1-BBCF-02C9B40CA872}"/>
                </a:ext>
              </a:extLst>
            </p:cNvPr>
            <p:cNvSpPr>
              <a:spLocks/>
            </p:cNvSpPr>
            <p:nvPr/>
          </p:nvSpPr>
          <p:spPr bwMode="auto">
            <a:xfrm>
              <a:off x="1656"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7" name="Freeform 107">
              <a:extLst>
                <a:ext uri="{FF2B5EF4-FFF2-40B4-BE49-F238E27FC236}">
                  <a16:creationId xmlns:a16="http://schemas.microsoft.com/office/drawing/2014/main" id="{7323B0E5-0804-46CF-B206-741642DF2125}"/>
                </a:ext>
              </a:extLst>
            </p:cNvPr>
            <p:cNvSpPr>
              <a:spLocks/>
            </p:cNvSpPr>
            <p:nvPr/>
          </p:nvSpPr>
          <p:spPr bwMode="auto">
            <a:xfrm>
              <a:off x="1638" y="3031"/>
              <a:ext cx="55" cy="55"/>
            </a:xfrm>
            <a:custGeom>
              <a:avLst/>
              <a:gdLst>
                <a:gd name="T0" fmla="*/ 6 w 37"/>
                <a:gd name="T1" fmla="*/ 37 h 37"/>
                <a:gd name="T2" fmla="*/ 2 w 37"/>
                <a:gd name="T3" fmla="*/ 35 h 37"/>
                <a:gd name="T4" fmla="*/ 2 w 37"/>
                <a:gd name="T5" fmla="*/ 27 h 37"/>
                <a:gd name="T6" fmla="*/ 26 w 37"/>
                <a:gd name="T7" fmla="*/ 3 h 37"/>
                <a:gd name="T8" fmla="*/ 34 w 37"/>
                <a:gd name="T9" fmla="*/ 3 h 37"/>
                <a:gd name="T10" fmla="*/ 34 w 37"/>
                <a:gd name="T11" fmla="*/ 11 h 37"/>
                <a:gd name="T12" fmla="*/ 10 w 37"/>
                <a:gd name="T13" fmla="*/ 35 h 37"/>
                <a:gd name="T14" fmla="*/ 6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6" y="37"/>
                  </a:moveTo>
                  <a:cubicBezTo>
                    <a:pt x="5" y="37"/>
                    <a:pt x="3" y="36"/>
                    <a:pt x="2" y="35"/>
                  </a:cubicBezTo>
                  <a:cubicBezTo>
                    <a:pt x="0" y="33"/>
                    <a:pt x="0" y="29"/>
                    <a:pt x="2" y="27"/>
                  </a:cubicBezTo>
                  <a:cubicBezTo>
                    <a:pt x="26" y="3"/>
                    <a:pt x="26" y="3"/>
                    <a:pt x="26" y="3"/>
                  </a:cubicBezTo>
                  <a:cubicBezTo>
                    <a:pt x="28" y="0"/>
                    <a:pt x="32" y="0"/>
                    <a:pt x="34" y="3"/>
                  </a:cubicBezTo>
                  <a:cubicBezTo>
                    <a:pt x="37" y="5"/>
                    <a:pt x="37" y="9"/>
                    <a:pt x="34" y="11"/>
                  </a:cubicBezTo>
                  <a:cubicBezTo>
                    <a:pt x="10" y="35"/>
                    <a:pt x="10" y="35"/>
                    <a:pt x="10" y="35"/>
                  </a:cubicBezTo>
                  <a:cubicBezTo>
                    <a:pt x="9" y="36"/>
                    <a:pt x="8"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8" name="Freeform 108">
              <a:extLst>
                <a:ext uri="{FF2B5EF4-FFF2-40B4-BE49-F238E27FC236}">
                  <a16:creationId xmlns:a16="http://schemas.microsoft.com/office/drawing/2014/main" id="{70FC238B-6195-4821-B574-557E22EB450B}"/>
                </a:ext>
              </a:extLst>
            </p:cNvPr>
            <p:cNvSpPr>
              <a:spLocks/>
            </p:cNvSpPr>
            <p:nvPr/>
          </p:nvSpPr>
          <p:spPr bwMode="auto">
            <a:xfrm>
              <a:off x="1585" y="2997"/>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10" y="0"/>
                    <a:pt x="12" y="3"/>
                    <a:pt x="12" y="6"/>
                  </a:cubicBezTo>
                  <a:cubicBezTo>
                    <a:pt x="12" y="42"/>
                    <a:pt x="12" y="42"/>
                    <a:pt x="12" y="42"/>
                  </a:cubicBezTo>
                  <a:cubicBezTo>
                    <a:pt x="12" y="45"/>
                    <a:pt x="10"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29" name="Freeform 109">
              <a:extLst>
                <a:ext uri="{FF2B5EF4-FFF2-40B4-BE49-F238E27FC236}">
                  <a16:creationId xmlns:a16="http://schemas.microsoft.com/office/drawing/2014/main" id="{40F34CF0-B1FB-4FBF-919E-8A39403C9DB4}"/>
                </a:ext>
              </a:extLst>
            </p:cNvPr>
            <p:cNvSpPr>
              <a:spLocks/>
            </p:cNvSpPr>
            <p:nvPr/>
          </p:nvSpPr>
          <p:spPr bwMode="auto">
            <a:xfrm>
              <a:off x="1478" y="3031"/>
              <a:ext cx="55" cy="55"/>
            </a:xfrm>
            <a:custGeom>
              <a:avLst/>
              <a:gdLst>
                <a:gd name="T0" fmla="*/ 30 w 37"/>
                <a:gd name="T1" fmla="*/ 37 h 37"/>
                <a:gd name="T2" fmla="*/ 26 w 37"/>
                <a:gd name="T3" fmla="*/ 35 h 37"/>
                <a:gd name="T4" fmla="*/ 2 w 37"/>
                <a:gd name="T5" fmla="*/ 11 h 37"/>
                <a:gd name="T6" fmla="*/ 2 w 37"/>
                <a:gd name="T7" fmla="*/ 3 h 37"/>
                <a:gd name="T8" fmla="*/ 10 w 37"/>
                <a:gd name="T9" fmla="*/ 3 h 37"/>
                <a:gd name="T10" fmla="*/ 34 w 37"/>
                <a:gd name="T11" fmla="*/ 27 h 37"/>
                <a:gd name="T12" fmla="*/ 34 w 37"/>
                <a:gd name="T13" fmla="*/ 35 h 37"/>
                <a:gd name="T14" fmla="*/ 30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30" y="37"/>
                  </a:moveTo>
                  <a:cubicBezTo>
                    <a:pt x="29" y="37"/>
                    <a:pt x="27" y="36"/>
                    <a:pt x="26" y="35"/>
                  </a:cubicBezTo>
                  <a:cubicBezTo>
                    <a:pt x="2" y="11"/>
                    <a:pt x="2" y="11"/>
                    <a:pt x="2" y="11"/>
                  </a:cubicBezTo>
                  <a:cubicBezTo>
                    <a:pt x="0" y="9"/>
                    <a:pt x="0" y="5"/>
                    <a:pt x="2" y="3"/>
                  </a:cubicBezTo>
                  <a:cubicBezTo>
                    <a:pt x="4" y="0"/>
                    <a:pt x="8" y="0"/>
                    <a:pt x="10" y="3"/>
                  </a:cubicBezTo>
                  <a:cubicBezTo>
                    <a:pt x="34" y="27"/>
                    <a:pt x="34" y="27"/>
                    <a:pt x="34" y="27"/>
                  </a:cubicBezTo>
                  <a:cubicBezTo>
                    <a:pt x="37" y="29"/>
                    <a:pt x="37" y="33"/>
                    <a:pt x="34" y="35"/>
                  </a:cubicBezTo>
                  <a:cubicBezTo>
                    <a:pt x="33" y="36"/>
                    <a:pt x="32" y="37"/>
                    <a:pt x="3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30" name="Freeform 110">
              <a:extLst>
                <a:ext uri="{FF2B5EF4-FFF2-40B4-BE49-F238E27FC236}">
                  <a16:creationId xmlns:a16="http://schemas.microsoft.com/office/drawing/2014/main" id="{A2D3CAE2-5D5E-46A9-AFEF-80E051CFBFC8}"/>
                </a:ext>
              </a:extLst>
            </p:cNvPr>
            <p:cNvSpPr>
              <a:spLocks/>
            </p:cNvSpPr>
            <p:nvPr/>
          </p:nvSpPr>
          <p:spPr bwMode="auto">
            <a:xfrm>
              <a:off x="1443" y="3122"/>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31" name="Group 133" descr="Person with Chat Bubble">
            <a:extLst>
              <a:ext uri="{FF2B5EF4-FFF2-40B4-BE49-F238E27FC236}">
                <a16:creationId xmlns:a16="http://schemas.microsoft.com/office/drawing/2014/main" id="{6B1B0BE8-DD12-4F8A-9E90-38DCA5CF4BFA}"/>
              </a:ext>
              <a:ext uri="{C183D7F6-B498-43B3-948B-1728B52AA6E4}">
                <adec:decorative xmlns:adec="http://schemas.microsoft.com/office/drawing/2017/decorative" val="0"/>
              </a:ext>
            </a:extLst>
          </p:cNvPr>
          <p:cNvGrpSpPr>
            <a:grpSpLocks noChangeAspect="1"/>
          </p:cNvGrpSpPr>
          <p:nvPr/>
        </p:nvGrpSpPr>
        <p:grpSpPr bwMode="auto">
          <a:xfrm>
            <a:off x="10121428" y="2210576"/>
            <a:ext cx="964800" cy="964800"/>
            <a:chOff x="5508" y="2995"/>
            <a:chExt cx="427" cy="427"/>
          </a:xfrm>
          <a:solidFill>
            <a:schemeClr val="accent1"/>
          </a:solidFill>
        </p:grpSpPr>
        <p:sp>
          <p:nvSpPr>
            <p:cNvPr id="32" name="Freeform 134">
              <a:extLst>
                <a:ext uri="{FF2B5EF4-FFF2-40B4-BE49-F238E27FC236}">
                  <a16:creationId xmlns:a16="http://schemas.microsoft.com/office/drawing/2014/main" id="{32CD4311-6F2C-46DA-95B5-2429065E8714}"/>
                </a:ext>
              </a:extLst>
            </p:cNvPr>
            <p:cNvSpPr>
              <a:spLocks/>
            </p:cNvSpPr>
            <p:nvPr/>
          </p:nvSpPr>
          <p:spPr bwMode="auto">
            <a:xfrm>
              <a:off x="5650" y="2995"/>
              <a:ext cx="285" cy="249"/>
            </a:xfrm>
            <a:custGeom>
              <a:avLst/>
              <a:gdLst>
                <a:gd name="T0" fmla="*/ 90 w 192"/>
                <a:gd name="T1" fmla="*/ 168 h 168"/>
                <a:gd name="T2" fmla="*/ 87 w 192"/>
                <a:gd name="T3" fmla="*/ 168 h 168"/>
                <a:gd name="T4" fmla="*/ 84 w 192"/>
                <a:gd name="T5" fmla="*/ 162 h 168"/>
                <a:gd name="T6" fmla="*/ 84 w 192"/>
                <a:gd name="T7" fmla="*/ 120 h 168"/>
                <a:gd name="T8" fmla="*/ 72 w 192"/>
                <a:gd name="T9" fmla="*/ 120 h 168"/>
                <a:gd name="T10" fmla="*/ 72 w 192"/>
                <a:gd name="T11" fmla="*/ 108 h 168"/>
                <a:gd name="T12" fmla="*/ 90 w 192"/>
                <a:gd name="T13" fmla="*/ 108 h 168"/>
                <a:gd name="T14" fmla="*/ 96 w 192"/>
                <a:gd name="T15" fmla="*/ 114 h 168"/>
                <a:gd name="T16" fmla="*/ 96 w 192"/>
                <a:gd name="T17" fmla="*/ 148 h 168"/>
                <a:gd name="T18" fmla="*/ 138 w 192"/>
                <a:gd name="T19" fmla="*/ 110 h 168"/>
                <a:gd name="T20" fmla="*/ 142 w 192"/>
                <a:gd name="T21" fmla="*/ 108 h 168"/>
                <a:gd name="T22" fmla="*/ 180 w 192"/>
                <a:gd name="T23" fmla="*/ 108 h 168"/>
                <a:gd name="T24" fmla="*/ 180 w 192"/>
                <a:gd name="T25" fmla="*/ 12 h 168"/>
                <a:gd name="T26" fmla="*/ 12 w 192"/>
                <a:gd name="T27" fmla="*/ 12 h 168"/>
                <a:gd name="T28" fmla="*/ 12 w 192"/>
                <a:gd name="T29" fmla="*/ 54 h 168"/>
                <a:gd name="T30" fmla="*/ 0 w 192"/>
                <a:gd name="T31" fmla="*/ 54 h 168"/>
                <a:gd name="T32" fmla="*/ 0 w 192"/>
                <a:gd name="T33" fmla="*/ 6 h 168"/>
                <a:gd name="T34" fmla="*/ 6 w 192"/>
                <a:gd name="T35" fmla="*/ 0 h 168"/>
                <a:gd name="T36" fmla="*/ 186 w 192"/>
                <a:gd name="T37" fmla="*/ 0 h 168"/>
                <a:gd name="T38" fmla="*/ 192 w 192"/>
                <a:gd name="T39" fmla="*/ 6 h 168"/>
                <a:gd name="T40" fmla="*/ 192 w 192"/>
                <a:gd name="T41" fmla="*/ 114 h 168"/>
                <a:gd name="T42" fmla="*/ 186 w 192"/>
                <a:gd name="T43" fmla="*/ 120 h 168"/>
                <a:gd name="T44" fmla="*/ 144 w 192"/>
                <a:gd name="T45" fmla="*/ 120 h 168"/>
                <a:gd name="T46" fmla="*/ 94 w 192"/>
                <a:gd name="T47" fmla="*/ 166 h 168"/>
                <a:gd name="T48" fmla="*/ 90 w 192"/>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68">
                  <a:moveTo>
                    <a:pt x="90" y="168"/>
                  </a:moveTo>
                  <a:cubicBezTo>
                    <a:pt x="89" y="168"/>
                    <a:pt x="88" y="168"/>
                    <a:pt x="87" y="168"/>
                  </a:cubicBezTo>
                  <a:cubicBezTo>
                    <a:pt x="85" y="167"/>
                    <a:pt x="84" y="164"/>
                    <a:pt x="84" y="162"/>
                  </a:cubicBezTo>
                  <a:cubicBezTo>
                    <a:pt x="84" y="120"/>
                    <a:pt x="84" y="120"/>
                    <a:pt x="84" y="120"/>
                  </a:cubicBezTo>
                  <a:cubicBezTo>
                    <a:pt x="72" y="120"/>
                    <a:pt x="72" y="120"/>
                    <a:pt x="72" y="120"/>
                  </a:cubicBezTo>
                  <a:cubicBezTo>
                    <a:pt x="72" y="108"/>
                    <a:pt x="72" y="108"/>
                    <a:pt x="72" y="108"/>
                  </a:cubicBezTo>
                  <a:cubicBezTo>
                    <a:pt x="90" y="108"/>
                    <a:pt x="90" y="108"/>
                    <a:pt x="90" y="108"/>
                  </a:cubicBezTo>
                  <a:cubicBezTo>
                    <a:pt x="93" y="108"/>
                    <a:pt x="96" y="111"/>
                    <a:pt x="96" y="114"/>
                  </a:cubicBezTo>
                  <a:cubicBezTo>
                    <a:pt x="96" y="148"/>
                    <a:pt x="96" y="148"/>
                    <a:pt x="96" y="148"/>
                  </a:cubicBezTo>
                  <a:cubicBezTo>
                    <a:pt x="138" y="110"/>
                    <a:pt x="138" y="110"/>
                    <a:pt x="138" y="110"/>
                  </a:cubicBezTo>
                  <a:cubicBezTo>
                    <a:pt x="139" y="109"/>
                    <a:pt x="140" y="108"/>
                    <a:pt x="142" y="108"/>
                  </a:cubicBezTo>
                  <a:cubicBezTo>
                    <a:pt x="180" y="108"/>
                    <a:pt x="180" y="108"/>
                    <a:pt x="180" y="108"/>
                  </a:cubicBezTo>
                  <a:cubicBezTo>
                    <a:pt x="180" y="12"/>
                    <a:pt x="180" y="12"/>
                    <a:pt x="180" y="12"/>
                  </a:cubicBezTo>
                  <a:cubicBezTo>
                    <a:pt x="12" y="12"/>
                    <a:pt x="12" y="12"/>
                    <a:pt x="12" y="12"/>
                  </a:cubicBezTo>
                  <a:cubicBezTo>
                    <a:pt x="12" y="54"/>
                    <a:pt x="12" y="54"/>
                    <a:pt x="12" y="54"/>
                  </a:cubicBezTo>
                  <a:cubicBezTo>
                    <a:pt x="0" y="54"/>
                    <a:pt x="0" y="54"/>
                    <a:pt x="0" y="54"/>
                  </a:cubicBezTo>
                  <a:cubicBezTo>
                    <a:pt x="0" y="6"/>
                    <a:pt x="0" y="6"/>
                    <a:pt x="0" y="6"/>
                  </a:cubicBezTo>
                  <a:cubicBezTo>
                    <a:pt x="0" y="3"/>
                    <a:pt x="3" y="0"/>
                    <a:pt x="6" y="0"/>
                  </a:cubicBezTo>
                  <a:cubicBezTo>
                    <a:pt x="186" y="0"/>
                    <a:pt x="186" y="0"/>
                    <a:pt x="186" y="0"/>
                  </a:cubicBezTo>
                  <a:cubicBezTo>
                    <a:pt x="189" y="0"/>
                    <a:pt x="192" y="3"/>
                    <a:pt x="192" y="6"/>
                  </a:cubicBezTo>
                  <a:cubicBezTo>
                    <a:pt x="192" y="114"/>
                    <a:pt x="192" y="114"/>
                    <a:pt x="192" y="114"/>
                  </a:cubicBezTo>
                  <a:cubicBezTo>
                    <a:pt x="192" y="117"/>
                    <a:pt x="189" y="120"/>
                    <a:pt x="186" y="120"/>
                  </a:cubicBezTo>
                  <a:cubicBezTo>
                    <a:pt x="144" y="120"/>
                    <a:pt x="144" y="120"/>
                    <a:pt x="144" y="120"/>
                  </a:cubicBezTo>
                  <a:cubicBezTo>
                    <a:pt x="94" y="166"/>
                    <a:pt x="94" y="166"/>
                    <a:pt x="94" y="166"/>
                  </a:cubicBezTo>
                  <a:cubicBezTo>
                    <a:pt x="93" y="167"/>
                    <a:pt x="91" y="168"/>
                    <a:pt x="9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3" name="Rectangle 135">
              <a:extLst>
                <a:ext uri="{FF2B5EF4-FFF2-40B4-BE49-F238E27FC236}">
                  <a16:creationId xmlns:a16="http://schemas.microsoft.com/office/drawing/2014/main" id="{88888DA3-6EF8-4685-852C-8A5E6267BE2B}"/>
                </a:ext>
              </a:extLst>
            </p:cNvPr>
            <p:cNvSpPr>
              <a:spLocks noChangeArrowheads="1"/>
            </p:cNvSpPr>
            <p:nvPr/>
          </p:nvSpPr>
          <p:spPr bwMode="auto">
            <a:xfrm>
              <a:off x="5846"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4" name="Rectangle 136">
              <a:extLst>
                <a:ext uri="{FF2B5EF4-FFF2-40B4-BE49-F238E27FC236}">
                  <a16:creationId xmlns:a16="http://schemas.microsoft.com/office/drawing/2014/main" id="{96ABBBF8-191F-48E6-BF7B-D490220115F5}"/>
                </a:ext>
              </a:extLst>
            </p:cNvPr>
            <p:cNvSpPr>
              <a:spLocks noChangeArrowheads="1"/>
            </p:cNvSpPr>
            <p:nvPr/>
          </p:nvSpPr>
          <p:spPr bwMode="auto">
            <a:xfrm>
              <a:off x="5793" y="3084"/>
              <a:ext cx="1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5" name="Rectangle 137">
              <a:extLst>
                <a:ext uri="{FF2B5EF4-FFF2-40B4-BE49-F238E27FC236}">
                  <a16:creationId xmlns:a16="http://schemas.microsoft.com/office/drawing/2014/main" id="{7C8C03D1-8837-47E2-B063-4AFBD47FCDCE}"/>
                </a:ext>
              </a:extLst>
            </p:cNvPr>
            <p:cNvSpPr>
              <a:spLocks noChangeArrowheads="1"/>
            </p:cNvSpPr>
            <p:nvPr/>
          </p:nvSpPr>
          <p:spPr bwMode="auto">
            <a:xfrm>
              <a:off x="5739" y="3084"/>
              <a:ext cx="1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sp>
          <p:nvSpPr>
            <p:cNvPr id="36" name="Freeform 138">
              <a:extLst>
                <a:ext uri="{FF2B5EF4-FFF2-40B4-BE49-F238E27FC236}">
                  <a16:creationId xmlns:a16="http://schemas.microsoft.com/office/drawing/2014/main" id="{60F7CA7D-BE83-4931-885A-0BE4C02D1990}"/>
                </a:ext>
              </a:extLst>
            </p:cNvPr>
            <p:cNvSpPr>
              <a:spLocks noEditPoints="1"/>
            </p:cNvSpPr>
            <p:nvPr/>
          </p:nvSpPr>
          <p:spPr bwMode="auto">
            <a:xfrm>
              <a:off x="5508" y="3120"/>
              <a:ext cx="285" cy="302"/>
            </a:xfrm>
            <a:custGeom>
              <a:avLst/>
              <a:gdLst>
                <a:gd name="T0" fmla="*/ 186 w 192"/>
                <a:gd name="T1" fmla="*/ 204 h 204"/>
                <a:gd name="T2" fmla="*/ 6 w 192"/>
                <a:gd name="T3" fmla="*/ 204 h 204"/>
                <a:gd name="T4" fmla="*/ 0 w 192"/>
                <a:gd name="T5" fmla="*/ 198 h 204"/>
                <a:gd name="T6" fmla="*/ 0 w 192"/>
                <a:gd name="T7" fmla="*/ 168 h 204"/>
                <a:gd name="T8" fmla="*/ 25 w 192"/>
                <a:gd name="T9" fmla="*/ 147 h 204"/>
                <a:gd name="T10" fmla="*/ 66 w 192"/>
                <a:gd name="T11" fmla="*/ 128 h 204"/>
                <a:gd name="T12" fmla="*/ 66 w 192"/>
                <a:gd name="T13" fmla="*/ 111 h 204"/>
                <a:gd name="T14" fmla="*/ 54 w 192"/>
                <a:gd name="T15" fmla="*/ 83 h 204"/>
                <a:gd name="T16" fmla="*/ 45 w 192"/>
                <a:gd name="T17" fmla="*/ 66 h 204"/>
                <a:gd name="T18" fmla="*/ 52 w 192"/>
                <a:gd name="T19" fmla="*/ 50 h 204"/>
                <a:gd name="T20" fmla="*/ 49 w 192"/>
                <a:gd name="T21" fmla="*/ 22 h 204"/>
                <a:gd name="T22" fmla="*/ 61 w 192"/>
                <a:gd name="T23" fmla="*/ 18 h 204"/>
                <a:gd name="T24" fmla="*/ 101 w 192"/>
                <a:gd name="T25" fmla="*/ 0 h 204"/>
                <a:gd name="T26" fmla="*/ 142 w 192"/>
                <a:gd name="T27" fmla="*/ 23 h 204"/>
                <a:gd name="T28" fmla="*/ 139 w 192"/>
                <a:gd name="T29" fmla="*/ 51 h 204"/>
                <a:gd name="T30" fmla="*/ 142 w 192"/>
                <a:gd name="T31" fmla="*/ 54 h 204"/>
                <a:gd name="T32" fmla="*/ 144 w 192"/>
                <a:gd name="T33" fmla="*/ 65 h 204"/>
                <a:gd name="T34" fmla="*/ 137 w 192"/>
                <a:gd name="T35" fmla="*/ 82 h 204"/>
                <a:gd name="T36" fmla="*/ 126 w 192"/>
                <a:gd name="T37" fmla="*/ 111 h 204"/>
                <a:gd name="T38" fmla="*/ 126 w 192"/>
                <a:gd name="T39" fmla="*/ 128 h 204"/>
                <a:gd name="T40" fmla="*/ 167 w 192"/>
                <a:gd name="T41" fmla="*/ 147 h 204"/>
                <a:gd name="T42" fmla="*/ 192 w 192"/>
                <a:gd name="T43" fmla="*/ 168 h 204"/>
                <a:gd name="T44" fmla="*/ 192 w 192"/>
                <a:gd name="T45" fmla="*/ 198 h 204"/>
                <a:gd name="T46" fmla="*/ 186 w 192"/>
                <a:gd name="T47" fmla="*/ 204 h 204"/>
                <a:gd name="T48" fmla="*/ 12 w 192"/>
                <a:gd name="T49" fmla="*/ 192 h 204"/>
                <a:gd name="T50" fmla="*/ 180 w 192"/>
                <a:gd name="T51" fmla="*/ 192 h 204"/>
                <a:gd name="T52" fmla="*/ 180 w 192"/>
                <a:gd name="T53" fmla="*/ 169 h 204"/>
                <a:gd name="T54" fmla="*/ 118 w 192"/>
                <a:gd name="T55" fmla="*/ 138 h 204"/>
                <a:gd name="T56" fmla="*/ 114 w 192"/>
                <a:gd name="T57" fmla="*/ 132 h 204"/>
                <a:gd name="T58" fmla="*/ 114 w 192"/>
                <a:gd name="T59" fmla="*/ 108 h 204"/>
                <a:gd name="T60" fmla="*/ 118 w 192"/>
                <a:gd name="T61" fmla="*/ 102 h 204"/>
                <a:gd name="T62" fmla="*/ 118 w 192"/>
                <a:gd name="T63" fmla="*/ 102 h 204"/>
                <a:gd name="T64" fmla="*/ 125 w 192"/>
                <a:gd name="T65" fmla="*/ 78 h 204"/>
                <a:gd name="T66" fmla="*/ 130 w 192"/>
                <a:gd name="T67" fmla="*/ 72 h 204"/>
                <a:gd name="T68" fmla="*/ 132 w 192"/>
                <a:gd name="T69" fmla="*/ 61 h 204"/>
                <a:gd name="T70" fmla="*/ 131 w 192"/>
                <a:gd name="T71" fmla="*/ 60 h 204"/>
                <a:gd name="T72" fmla="*/ 125 w 192"/>
                <a:gd name="T73" fmla="*/ 54 h 204"/>
                <a:gd name="T74" fmla="*/ 127 w 192"/>
                <a:gd name="T75" fmla="*/ 48 h 204"/>
                <a:gd name="T76" fmla="*/ 130 w 192"/>
                <a:gd name="T77" fmla="*/ 25 h 204"/>
                <a:gd name="T78" fmla="*/ 101 w 192"/>
                <a:gd name="T79" fmla="*/ 12 h 204"/>
                <a:gd name="T80" fmla="*/ 71 w 192"/>
                <a:gd name="T81" fmla="*/ 25 h 204"/>
                <a:gd name="T82" fmla="*/ 64 w 192"/>
                <a:gd name="T83" fmla="*/ 30 h 204"/>
                <a:gd name="T84" fmla="*/ 58 w 192"/>
                <a:gd name="T85" fmla="*/ 30 h 204"/>
                <a:gd name="T86" fmla="*/ 63 w 192"/>
                <a:gd name="T87" fmla="*/ 46 h 204"/>
                <a:gd name="T88" fmla="*/ 66 w 192"/>
                <a:gd name="T89" fmla="*/ 54 h 204"/>
                <a:gd name="T90" fmla="*/ 60 w 192"/>
                <a:gd name="T91" fmla="*/ 60 h 204"/>
                <a:gd name="T92" fmla="*/ 57 w 192"/>
                <a:gd name="T93" fmla="*/ 66 h 204"/>
                <a:gd name="T94" fmla="*/ 60 w 192"/>
                <a:gd name="T95" fmla="*/ 72 h 204"/>
                <a:gd name="T96" fmla="*/ 66 w 192"/>
                <a:gd name="T97" fmla="*/ 78 h 204"/>
                <a:gd name="T98" fmla="*/ 74 w 192"/>
                <a:gd name="T99" fmla="*/ 102 h 204"/>
                <a:gd name="T100" fmla="*/ 78 w 192"/>
                <a:gd name="T101" fmla="*/ 108 h 204"/>
                <a:gd name="T102" fmla="*/ 78 w 192"/>
                <a:gd name="T103" fmla="*/ 132 h 204"/>
                <a:gd name="T104" fmla="*/ 74 w 192"/>
                <a:gd name="T105" fmla="*/ 138 h 204"/>
                <a:gd name="T106" fmla="*/ 12 w 192"/>
                <a:gd name="T107" fmla="*/ 169 h 204"/>
                <a:gd name="T108" fmla="*/ 12 w 192"/>
                <a:gd name="T109"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 h="204">
                  <a:moveTo>
                    <a:pt x="186" y="204"/>
                  </a:moveTo>
                  <a:cubicBezTo>
                    <a:pt x="6" y="204"/>
                    <a:pt x="6" y="204"/>
                    <a:pt x="6" y="204"/>
                  </a:cubicBezTo>
                  <a:cubicBezTo>
                    <a:pt x="3" y="204"/>
                    <a:pt x="0" y="201"/>
                    <a:pt x="0" y="198"/>
                  </a:cubicBezTo>
                  <a:cubicBezTo>
                    <a:pt x="0" y="168"/>
                    <a:pt x="0" y="168"/>
                    <a:pt x="0" y="168"/>
                  </a:cubicBezTo>
                  <a:cubicBezTo>
                    <a:pt x="0" y="164"/>
                    <a:pt x="2" y="159"/>
                    <a:pt x="25" y="147"/>
                  </a:cubicBezTo>
                  <a:cubicBezTo>
                    <a:pt x="36" y="141"/>
                    <a:pt x="51" y="134"/>
                    <a:pt x="66" y="128"/>
                  </a:cubicBezTo>
                  <a:cubicBezTo>
                    <a:pt x="66" y="111"/>
                    <a:pt x="66" y="111"/>
                    <a:pt x="66" y="111"/>
                  </a:cubicBezTo>
                  <a:cubicBezTo>
                    <a:pt x="61" y="108"/>
                    <a:pt x="55" y="100"/>
                    <a:pt x="54" y="83"/>
                  </a:cubicBezTo>
                  <a:cubicBezTo>
                    <a:pt x="48" y="80"/>
                    <a:pt x="45" y="74"/>
                    <a:pt x="45" y="66"/>
                  </a:cubicBezTo>
                  <a:cubicBezTo>
                    <a:pt x="45" y="59"/>
                    <a:pt x="48" y="53"/>
                    <a:pt x="52" y="50"/>
                  </a:cubicBezTo>
                  <a:cubicBezTo>
                    <a:pt x="48" y="42"/>
                    <a:pt x="43" y="30"/>
                    <a:pt x="49" y="22"/>
                  </a:cubicBezTo>
                  <a:cubicBezTo>
                    <a:pt x="52" y="19"/>
                    <a:pt x="56" y="17"/>
                    <a:pt x="61" y="18"/>
                  </a:cubicBezTo>
                  <a:cubicBezTo>
                    <a:pt x="68" y="5"/>
                    <a:pt x="86" y="0"/>
                    <a:pt x="101" y="0"/>
                  </a:cubicBezTo>
                  <a:cubicBezTo>
                    <a:pt x="117" y="0"/>
                    <a:pt x="138" y="6"/>
                    <a:pt x="142" y="23"/>
                  </a:cubicBezTo>
                  <a:cubicBezTo>
                    <a:pt x="145" y="34"/>
                    <a:pt x="141" y="44"/>
                    <a:pt x="139" y="51"/>
                  </a:cubicBezTo>
                  <a:cubicBezTo>
                    <a:pt x="140" y="52"/>
                    <a:pt x="141" y="53"/>
                    <a:pt x="142" y="54"/>
                  </a:cubicBezTo>
                  <a:cubicBezTo>
                    <a:pt x="143" y="57"/>
                    <a:pt x="144" y="61"/>
                    <a:pt x="144" y="65"/>
                  </a:cubicBezTo>
                  <a:cubicBezTo>
                    <a:pt x="144" y="72"/>
                    <a:pt x="142" y="79"/>
                    <a:pt x="137" y="82"/>
                  </a:cubicBezTo>
                  <a:cubicBezTo>
                    <a:pt x="136" y="100"/>
                    <a:pt x="130" y="108"/>
                    <a:pt x="126" y="111"/>
                  </a:cubicBezTo>
                  <a:cubicBezTo>
                    <a:pt x="126" y="128"/>
                    <a:pt x="126" y="128"/>
                    <a:pt x="126" y="128"/>
                  </a:cubicBezTo>
                  <a:cubicBezTo>
                    <a:pt x="140" y="134"/>
                    <a:pt x="155" y="141"/>
                    <a:pt x="167" y="147"/>
                  </a:cubicBezTo>
                  <a:cubicBezTo>
                    <a:pt x="190" y="159"/>
                    <a:pt x="192" y="164"/>
                    <a:pt x="192" y="168"/>
                  </a:cubicBezTo>
                  <a:cubicBezTo>
                    <a:pt x="192" y="198"/>
                    <a:pt x="192" y="198"/>
                    <a:pt x="192" y="198"/>
                  </a:cubicBezTo>
                  <a:cubicBezTo>
                    <a:pt x="192" y="201"/>
                    <a:pt x="189" y="204"/>
                    <a:pt x="186" y="204"/>
                  </a:cubicBezTo>
                  <a:close/>
                  <a:moveTo>
                    <a:pt x="12" y="192"/>
                  </a:moveTo>
                  <a:cubicBezTo>
                    <a:pt x="180" y="192"/>
                    <a:pt x="180" y="192"/>
                    <a:pt x="180" y="192"/>
                  </a:cubicBezTo>
                  <a:cubicBezTo>
                    <a:pt x="180" y="169"/>
                    <a:pt x="180" y="169"/>
                    <a:pt x="180" y="169"/>
                  </a:cubicBezTo>
                  <a:cubicBezTo>
                    <a:pt x="175" y="164"/>
                    <a:pt x="149" y="150"/>
                    <a:pt x="118" y="138"/>
                  </a:cubicBezTo>
                  <a:cubicBezTo>
                    <a:pt x="115" y="137"/>
                    <a:pt x="114" y="134"/>
                    <a:pt x="114" y="132"/>
                  </a:cubicBezTo>
                  <a:cubicBezTo>
                    <a:pt x="114" y="108"/>
                    <a:pt x="114" y="108"/>
                    <a:pt x="114" y="108"/>
                  </a:cubicBezTo>
                  <a:cubicBezTo>
                    <a:pt x="114" y="106"/>
                    <a:pt x="115" y="103"/>
                    <a:pt x="118" y="102"/>
                  </a:cubicBezTo>
                  <a:cubicBezTo>
                    <a:pt x="118" y="102"/>
                    <a:pt x="118" y="102"/>
                    <a:pt x="118" y="102"/>
                  </a:cubicBezTo>
                  <a:cubicBezTo>
                    <a:pt x="118" y="102"/>
                    <a:pt x="125" y="98"/>
                    <a:pt x="125" y="78"/>
                  </a:cubicBezTo>
                  <a:cubicBezTo>
                    <a:pt x="125" y="75"/>
                    <a:pt x="127" y="72"/>
                    <a:pt x="130" y="72"/>
                  </a:cubicBezTo>
                  <a:cubicBezTo>
                    <a:pt x="132" y="71"/>
                    <a:pt x="133" y="65"/>
                    <a:pt x="132" y="61"/>
                  </a:cubicBezTo>
                  <a:cubicBezTo>
                    <a:pt x="131" y="60"/>
                    <a:pt x="131" y="60"/>
                    <a:pt x="131" y="60"/>
                  </a:cubicBezTo>
                  <a:cubicBezTo>
                    <a:pt x="127" y="60"/>
                    <a:pt x="125" y="57"/>
                    <a:pt x="125" y="54"/>
                  </a:cubicBezTo>
                  <a:cubicBezTo>
                    <a:pt x="125" y="52"/>
                    <a:pt x="125" y="51"/>
                    <a:pt x="127" y="48"/>
                  </a:cubicBezTo>
                  <a:cubicBezTo>
                    <a:pt x="129" y="43"/>
                    <a:pt x="133" y="34"/>
                    <a:pt x="130" y="25"/>
                  </a:cubicBezTo>
                  <a:cubicBezTo>
                    <a:pt x="128" y="17"/>
                    <a:pt x="114" y="12"/>
                    <a:pt x="101" y="12"/>
                  </a:cubicBezTo>
                  <a:cubicBezTo>
                    <a:pt x="87" y="12"/>
                    <a:pt x="73" y="17"/>
                    <a:pt x="71" y="25"/>
                  </a:cubicBezTo>
                  <a:cubicBezTo>
                    <a:pt x="70" y="29"/>
                    <a:pt x="67" y="31"/>
                    <a:pt x="64" y="30"/>
                  </a:cubicBezTo>
                  <a:cubicBezTo>
                    <a:pt x="60" y="29"/>
                    <a:pt x="58" y="30"/>
                    <a:pt x="58" y="30"/>
                  </a:cubicBezTo>
                  <a:cubicBezTo>
                    <a:pt x="58" y="31"/>
                    <a:pt x="58" y="35"/>
                    <a:pt x="63" y="46"/>
                  </a:cubicBezTo>
                  <a:cubicBezTo>
                    <a:pt x="65" y="50"/>
                    <a:pt x="66" y="52"/>
                    <a:pt x="66" y="54"/>
                  </a:cubicBezTo>
                  <a:cubicBezTo>
                    <a:pt x="66" y="57"/>
                    <a:pt x="63" y="60"/>
                    <a:pt x="60" y="60"/>
                  </a:cubicBezTo>
                  <a:cubicBezTo>
                    <a:pt x="58" y="60"/>
                    <a:pt x="57" y="64"/>
                    <a:pt x="57" y="66"/>
                  </a:cubicBezTo>
                  <a:cubicBezTo>
                    <a:pt x="57" y="69"/>
                    <a:pt x="58" y="72"/>
                    <a:pt x="60" y="72"/>
                  </a:cubicBezTo>
                  <a:cubicBezTo>
                    <a:pt x="63" y="72"/>
                    <a:pt x="66" y="75"/>
                    <a:pt x="66" y="78"/>
                  </a:cubicBezTo>
                  <a:cubicBezTo>
                    <a:pt x="66" y="98"/>
                    <a:pt x="74" y="102"/>
                    <a:pt x="74" y="102"/>
                  </a:cubicBezTo>
                  <a:cubicBezTo>
                    <a:pt x="76" y="103"/>
                    <a:pt x="78" y="105"/>
                    <a:pt x="78" y="108"/>
                  </a:cubicBezTo>
                  <a:cubicBezTo>
                    <a:pt x="78" y="132"/>
                    <a:pt x="78" y="132"/>
                    <a:pt x="78" y="132"/>
                  </a:cubicBezTo>
                  <a:cubicBezTo>
                    <a:pt x="78" y="134"/>
                    <a:pt x="76" y="137"/>
                    <a:pt x="74" y="138"/>
                  </a:cubicBezTo>
                  <a:cubicBezTo>
                    <a:pt x="43" y="150"/>
                    <a:pt x="16" y="164"/>
                    <a:pt x="12" y="169"/>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n-lt"/>
              </a:endParaRPr>
            </a:p>
          </p:txBody>
        </p:sp>
      </p:grpSp>
      <p:grpSp>
        <p:nvGrpSpPr>
          <p:cNvPr id="37" name="Group 127" descr="Dollar Coin with Graph Diagonal Up">
            <a:extLst>
              <a:ext uri="{FF2B5EF4-FFF2-40B4-BE49-F238E27FC236}">
                <a16:creationId xmlns:a16="http://schemas.microsoft.com/office/drawing/2014/main" id="{F0264349-5247-48A1-B114-C794903B4473}"/>
              </a:ext>
              <a:ext uri="{C183D7F6-B498-43B3-948B-1728B52AA6E4}">
                <adec:decorative xmlns:adec="http://schemas.microsoft.com/office/drawing/2017/decorative" val="0"/>
              </a:ext>
            </a:extLst>
          </p:cNvPr>
          <p:cNvGrpSpPr>
            <a:grpSpLocks noChangeAspect="1"/>
          </p:cNvGrpSpPr>
          <p:nvPr/>
        </p:nvGrpSpPr>
        <p:grpSpPr bwMode="auto">
          <a:xfrm>
            <a:off x="8016743" y="4344175"/>
            <a:ext cx="987187" cy="964800"/>
            <a:chOff x="4656" y="1821"/>
            <a:chExt cx="441" cy="431"/>
          </a:xfrm>
          <a:solidFill>
            <a:schemeClr val="accent1"/>
          </a:solidFill>
        </p:grpSpPr>
        <p:sp>
          <p:nvSpPr>
            <p:cNvPr id="38" name="Freeform 128">
              <a:extLst>
                <a:ext uri="{FF2B5EF4-FFF2-40B4-BE49-F238E27FC236}">
                  <a16:creationId xmlns:a16="http://schemas.microsoft.com/office/drawing/2014/main" id="{10A21C32-0014-4BF4-A3EE-CB9955CEBFBF}"/>
                </a:ext>
              </a:extLst>
            </p:cNvPr>
            <p:cNvSpPr>
              <a:spLocks/>
            </p:cNvSpPr>
            <p:nvPr/>
          </p:nvSpPr>
          <p:spPr bwMode="auto">
            <a:xfrm>
              <a:off x="4682" y="2037"/>
              <a:ext cx="415" cy="215"/>
            </a:xfrm>
            <a:custGeom>
              <a:avLst/>
              <a:gdLst>
                <a:gd name="T0" fmla="*/ 7 w 271"/>
                <a:gd name="T1" fmla="*/ 144 h 144"/>
                <a:gd name="T2" fmla="*/ 2 w 271"/>
                <a:gd name="T3" fmla="*/ 142 h 144"/>
                <a:gd name="T4" fmla="*/ 3 w 271"/>
                <a:gd name="T5" fmla="*/ 134 h 144"/>
                <a:gd name="T6" fmla="*/ 111 w 271"/>
                <a:gd name="T7" fmla="*/ 38 h 144"/>
                <a:gd name="T8" fmla="*/ 119 w 271"/>
                <a:gd name="T9" fmla="*/ 38 h 144"/>
                <a:gd name="T10" fmla="*/ 175 w 271"/>
                <a:gd name="T11" fmla="*/ 83 h 144"/>
                <a:gd name="T12" fmla="*/ 261 w 271"/>
                <a:gd name="T13" fmla="*/ 2 h 144"/>
                <a:gd name="T14" fmla="*/ 269 w 271"/>
                <a:gd name="T15" fmla="*/ 3 h 144"/>
                <a:gd name="T16" fmla="*/ 269 w 271"/>
                <a:gd name="T17" fmla="*/ 11 h 144"/>
                <a:gd name="T18" fmla="*/ 179 w 271"/>
                <a:gd name="T19" fmla="*/ 95 h 144"/>
                <a:gd name="T20" fmla="*/ 171 w 271"/>
                <a:gd name="T21" fmla="*/ 95 h 144"/>
                <a:gd name="T22" fmla="*/ 115 w 271"/>
                <a:gd name="T23" fmla="*/ 50 h 144"/>
                <a:gd name="T24" fmla="*/ 11 w 271"/>
                <a:gd name="T25" fmla="*/ 143 h 144"/>
                <a:gd name="T26" fmla="*/ 7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7" y="144"/>
                  </a:moveTo>
                  <a:cubicBezTo>
                    <a:pt x="5" y="144"/>
                    <a:pt x="4" y="144"/>
                    <a:pt x="2" y="142"/>
                  </a:cubicBezTo>
                  <a:cubicBezTo>
                    <a:pt x="0" y="140"/>
                    <a:pt x="0" y="136"/>
                    <a:pt x="3" y="134"/>
                  </a:cubicBezTo>
                  <a:cubicBezTo>
                    <a:pt x="111" y="38"/>
                    <a:pt x="111" y="38"/>
                    <a:pt x="111" y="38"/>
                  </a:cubicBezTo>
                  <a:cubicBezTo>
                    <a:pt x="113" y="36"/>
                    <a:pt x="116" y="36"/>
                    <a:pt x="119" y="38"/>
                  </a:cubicBezTo>
                  <a:cubicBezTo>
                    <a:pt x="175" y="83"/>
                    <a:pt x="175" y="83"/>
                    <a:pt x="175" y="83"/>
                  </a:cubicBezTo>
                  <a:cubicBezTo>
                    <a:pt x="261" y="2"/>
                    <a:pt x="261" y="2"/>
                    <a:pt x="261" y="2"/>
                  </a:cubicBezTo>
                  <a:cubicBezTo>
                    <a:pt x="263" y="0"/>
                    <a:pt x="267" y="0"/>
                    <a:pt x="269" y="3"/>
                  </a:cubicBezTo>
                  <a:cubicBezTo>
                    <a:pt x="271" y="5"/>
                    <a:pt x="271" y="9"/>
                    <a:pt x="269" y="11"/>
                  </a:cubicBezTo>
                  <a:cubicBezTo>
                    <a:pt x="179" y="95"/>
                    <a:pt x="179" y="95"/>
                    <a:pt x="179" y="95"/>
                  </a:cubicBezTo>
                  <a:cubicBezTo>
                    <a:pt x="177" y="97"/>
                    <a:pt x="173" y="97"/>
                    <a:pt x="171" y="95"/>
                  </a:cubicBezTo>
                  <a:cubicBezTo>
                    <a:pt x="115" y="50"/>
                    <a:pt x="115" y="50"/>
                    <a:pt x="115" y="50"/>
                  </a:cubicBezTo>
                  <a:cubicBezTo>
                    <a:pt x="11" y="143"/>
                    <a:pt x="11" y="143"/>
                    <a:pt x="11" y="143"/>
                  </a:cubicBezTo>
                  <a:cubicBezTo>
                    <a:pt x="10" y="144"/>
                    <a:pt x="8" y="144"/>
                    <a:pt x="7"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 name="Freeform 129">
              <a:extLst>
                <a:ext uri="{FF2B5EF4-FFF2-40B4-BE49-F238E27FC236}">
                  <a16:creationId xmlns:a16="http://schemas.microsoft.com/office/drawing/2014/main" id="{2CB3AC51-9776-493B-BB3B-9AF29F960856}"/>
                </a:ext>
              </a:extLst>
            </p:cNvPr>
            <p:cNvSpPr>
              <a:spLocks/>
            </p:cNvSpPr>
            <p:nvPr/>
          </p:nvSpPr>
          <p:spPr bwMode="auto">
            <a:xfrm>
              <a:off x="5007" y="2038"/>
              <a:ext cx="90"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2" y="12"/>
                    <a:pt x="0" y="9"/>
                    <a:pt x="0" y="6"/>
                  </a:cubicBezTo>
                  <a:cubicBezTo>
                    <a:pt x="0" y="2"/>
                    <a:pt x="2" y="0"/>
                    <a:pt x="6" y="0"/>
                  </a:cubicBezTo>
                  <a:cubicBezTo>
                    <a:pt x="53" y="0"/>
                    <a:pt x="53" y="0"/>
                    <a:pt x="53" y="0"/>
                  </a:cubicBezTo>
                  <a:cubicBezTo>
                    <a:pt x="56" y="0"/>
                    <a:pt x="59" y="2"/>
                    <a:pt x="59" y="6"/>
                  </a:cubicBezTo>
                  <a:cubicBezTo>
                    <a:pt x="59" y="54"/>
                    <a:pt x="59" y="54"/>
                    <a:pt x="59" y="54"/>
                  </a:cubicBezTo>
                  <a:cubicBezTo>
                    <a:pt x="59" y="57"/>
                    <a:pt x="56"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 name="Freeform 130">
              <a:extLst>
                <a:ext uri="{FF2B5EF4-FFF2-40B4-BE49-F238E27FC236}">
                  <a16:creationId xmlns:a16="http://schemas.microsoft.com/office/drawing/2014/main" id="{193B74B2-1D6E-4845-AEC5-D89669A7B60F}"/>
                </a:ext>
              </a:extLst>
            </p:cNvPr>
            <p:cNvSpPr>
              <a:spLocks/>
            </p:cNvSpPr>
            <p:nvPr/>
          </p:nvSpPr>
          <p:spPr bwMode="auto">
            <a:xfrm>
              <a:off x="4656" y="1821"/>
              <a:ext cx="331" cy="307"/>
            </a:xfrm>
            <a:custGeom>
              <a:avLst/>
              <a:gdLst>
                <a:gd name="T0" fmla="*/ 60 w 216"/>
                <a:gd name="T1" fmla="*/ 205 h 205"/>
                <a:gd name="T2" fmla="*/ 57 w 216"/>
                <a:gd name="T3" fmla="*/ 204 h 205"/>
                <a:gd name="T4" fmla="*/ 0 w 216"/>
                <a:gd name="T5" fmla="*/ 108 h 205"/>
                <a:gd name="T6" fmla="*/ 108 w 216"/>
                <a:gd name="T7" fmla="*/ 0 h 205"/>
                <a:gd name="T8" fmla="*/ 216 w 216"/>
                <a:gd name="T9" fmla="*/ 108 h 205"/>
                <a:gd name="T10" fmla="*/ 196 w 216"/>
                <a:gd name="T11" fmla="*/ 171 h 205"/>
                <a:gd name="T12" fmla="*/ 188 w 216"/>
                <a:gd name="T13" fmla="*/ 172 h 205"/>
                <a:gd name="T14" fmla="*/ 186 w 216"/>
                <a:gd name="T15" fmla="*/ 164 h 205"/>
                <a:gd name="T16" fmla="*/ 204 w 216"/>
                <a:gd name="T17" fmla="*/ 108 h 205"/>
                <a:gd name="T18" fmla="*/ 108 w 216"/>
                <a:gd name="T19" fmla="*/ 12 h 205"/>
                <a:gd name="T20" fmla="*/ 12 w 216"/>
                <a:gd name="T21" fmla="*/ 108 h 205"/>
                <a:gd name="T22" fmla="*/ 63 w 216"/>
                <a:gd name="T23" fmla="*/ 193 h 205"/>
                <a:gd name="T24" fmla="*/ 65 w 216"/>
                <a:gd name="T25" fmla="*/ 201 h 205"/>
                <a:gd name="T26" fmla="*/ 60 w 216"/>
                <a:gd name="T2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5">
                  <a:moveTo>
                    <a:pt x="60" y="205"/>
                  </a:moveTo>
                  <a:cubicBezTo>
                    <a:pt x="59" y="205"/>
                    <a:pt x="58" y="204"/>
                    <a:pt x="57" y="204"/>
                  </a:cubicBezTo>
                  <a:cubicBezTo>
                    <a:pt x="22" y="185"/>
                    <a:pt x="0" y="148"/>
                    <a:pt x="0" y="108"/>
                  </a:cubicBezTo>
                  <a:cubicBezTo>
                    <a:pt x="0" y="49"/>
                    <a:pt x="48" y="0"/>
                    <a:pt x="108" y="0"/>
                  </a:cubicBezTo>
                  <a:cubicBezTo>
                    <a:pt x="167" y="0"/>
                    <a:pt x="216" y="49"/>
                    <a:pt x="216" y="108"/>
                  </a:cubicBezTo>
                  <a:cubicBezTo>
                    <a:pt x="216" y="131"/>
                    <a:pt x="209" y="153"/>
                    <a:pt x="196" y="171"/>
                  </a:cubicBezTo>
                  <a:cubicBezTo>
                    <a:pt x="194" y="173"/>
                    <a:pt x="190" y="174"/>
                    <a:pt x="188" y="172"/>
                  </a:cubicBezTo>
                  <a:cubicBezTo>
                    <a:pt x="185" y="170"/>
                    <a:pt x="184" y="167"/>
                    <a:pt x="186" y="164"/>
                  </a:cubicBezTo>
                  <a:cubicBezTo>
                    <a:pt x="198" y="148"/>
                    <a:pt x="204" y="128"/>
                    <a:pt x="204" y="108"/>
                  </a:cubicBezTo>
                  <a:cubicBezTo>
                    <a:pt x="204" y="56"/>
                    <a:pt x="161" y="12"/>
                    <a:pt x="108" y="12"/>
                  </a:cubicBezTo>
                  <a:cubicBezTo>
                    <a:pt x="55" y="12"/>
                    <a:pt x="12" y="56"/>
                    <a:pt x="12" y="108"/>
                  </a:cubicBezTo>
                  <a:cubicBezTo>
                    <a:pt x="12" y="144"/>
                    <a:pt x="31" y="177"/>
                    <a:pt x="63" y="193"/>
                  </a:cubicBezTo>
                  <a:cubicBezTo>
                    <a:pt x="66" y="195"/>
                    <a:pt x="67" y="198"/>
                    <a:pt x="65" y="201"/>
                  </a:cubicBezTo>
                  <a:cubicBezTo>
                    <a:pt x="64" y="203"/>
                    <a:pt x="62" y="205"/>
                    <a:pt x="60"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 name="Freeform 131">
              <a:extLst>
                <a:ext uri="{FF2B5EF4-FFF2-40B4-BE49-F238E27FC236}">
                  <a16:creationId xmlns:a16="http://schemas.microsoft.com/office/drawing/2014/main" id="{E2D7C7A1-FB1C-4BA0-BB38-12AED27051DE}"/>
                </a:ext>
              </a:extLst>
            </p:cNvPr>
            <p:cNvSpPr>
              <a:spLocks/>
            </p:cNvSpPr>
            <p:nvPr/>
          </p:nvSpPr>
          <p:spPr bwMode="auto">
            <a:xfrm>
              <a:off x="4812" y="2035"/>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 name="Freeform 132">
              <a:extLst>
                <a:ext uri="{FF2B5EF4-FFF2-40B4-BE49-F238E27FC236}">
                  <a16:creationId xmlns:a16="http://schemas.microsoft.com/office/drawing/2014/main" id="{B359C0AD-79FD-4D1B-85A9-8E4478784DEE}"/>
                </a:ext>
              </a:extLst>
            </p:cNvPr>
            <p:cNvSpPr>
              <a:spLocks/>
            </p:cNvSpPr>
            <p:nvPr/>
          </p:nvSpPr>
          <p:spPr bwMode="auto">
            <a:xfrm>
              <a:off x="4812" y="1893"/>
              <a:ext cx="19" cy="39"/>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9" y="0"/>
                    <a:pt x="12" y="3"/>
                    <a:pt x="12" y="6"/>
                  </a:cubicBezTo>
                  <a:cubicBezTo>
                    <a:pt x="12" y="20"/>
                    <a:pt x="12" y="20"/>
                    <a:pt x="12" y="20"/>
                  </a:cubicBezTo>
                  <a:cubicBezTo>
                    <a:pt x="12" y="23"/>
                    <a:pt x="9"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 name="Freeform 133">
              <a:extLst>
                <a:ext uri="{FF2B5EF4-FFF2-40B4-BE49-F238E27FC236}">
                  <a16:creationId xmlns:a16="http://schemas.microsoft.com/office/drawing/2014/main" id="{3CEEFFE5-F407-4138-B840-467D52BA9BDF}"/>
                </a:ext>
              </a:extLst>
            </p:cNvPr>
            <p:cNvSpPr>
              <a:spLocks/>
            </p:cNvSpPr>
            <p:nvPr/>
          </p:nvSpPr>
          <p:spPr bwMode="auto">
            <a:xfrm>
              <a:off x="4780" y="1914"/>
              <a:ext cx="81" cy="139"/>
            </a:xfrm>
            <a:custGeom>
              <a:avLst/>
              <a:gdLst>
                <a:gd name="T0" fmla="*/ 27 w 53"/>
                <a:gd name="T1" fmla="*/ 93 h 93"/>
                <a:gd name="T2" fmla="*/ 0 w 53"/>
                <a:gd name="T3" fmla="*/ 67 h 93"/>
                <a:gd name="T4" fmla="*/ 6 w 53"/>
                <a:gd name="T5" fmla="*/ 61 h 93"/>
                <a:gd name="T6" fmla="*/ 12 w 53"/>
                <a:gd name="T7" fmla="*/ 67 h 93"/>
                <a:gd name="T8" fmla="*/ 27 w 53"/>
                <a:gd name="T9" fmla="*/ 81 h 93"/>
                <a:gd name="T10" fmla="*/ 41 w 53"/>
                <a:gd name="T11" fmla="*/ 67 h 93"/>
                <a:gd name="T12" fmla="*/ 27 w 53"/>
                <a:gd name="T13" fmla="*/ 52 h 93"/>
                <a:gd name="T14" fmla="*/ 0 w 53"/>
                <a:gd name="T15" fmla="*/ 26 h 93"/>
                <a:gd name="T16" fmla="*/ 27 w 53"/>
                <a:gd name="T17" fmla="*/ 0 h 93"/>
                <a:gd name="T18" fmla="*/ 53 w 53"/>
                <a:gd name="T19" fmla="*/ 26 h 93"/>
                <a:gd name="T20" fmla="*/ 47 w 53"/>
                <a:gd name="T21" fmla="*/ 32 h 93"/>
                <a:gd name="T22" fmla="*/ 41 w 53"/>
                <a:gd name="T23" fmla="*/ 26 h 93"/>
                <a:gd name="T24" fmla="*/ 27 w 53"/>
                <a:gd name="T25" fmla="*/ 12 h 93"/>
                <a:gd name="T26" fmla="*/ 12 w 53"/>
                <a:gd name="T27" fmla="*/ 26 h 93"/>
                <a:gd name="T28" fmla="*/ 27 w 53"/>
                <a:gd name="T29" fmla="*/ 40 h 93"/>
                <a:gd name="T30" fmla="*/ 53 w 53"/>
                <a:gd name="T31" fmla="*/ 67 h 93"/>
                <a:gd name="T32" fmla="*/ 27 w 53"/>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93">
                  <a:moveTo>
                    <a:pt x="27" y="93"/>
                  </a:moveTo>
                  <a:cubicBezTo>
                    <a:pt x="12" y="93"/>
                    <a:pt x="0" y="81"/>
                    <a:pt x="0" y="67"/>
                  </a:cubicBezTo>
                  <a:cubicBezTo>
                    <a:pt x="0" y="64"/>
                    <a:pt x="3" y="61"/>
                    <a:pt x="6" y="61"/>
                  </a:cubicBezTo>
                  <a:cubicBezTo>
                    <a:pt x="10" y="61"/>
                    <a:pt x="12" y="64"/>
                    <a:pt x="12" y="67"/>
                  </a:cubicBezTo>
                  <a:cubicBezTo>
                    <a:pt x="12" y="75"/>
                    <a:pt x="19" y="81"/>
                    <a:pt x="27" y="81"/>
                  </a:cubicBezTo>
                  <a:cubicBezTo>
                    <a:pt x="35" y="81"/>
                    <a:pt x="41" y="75"/>
                    <a:pt x="41" y="67"/>
                  </a:cubicBezTo>
                  <a:cubicBezTo>
                    <a:pt x="41" y="59"/>
                    <a:pt x="35" y="52"/>
                    <a:pt x="27" y="52"/>
                  </a:cubicBezTo>
                  <a:cubicBezTo>
                    <a:pt x="12" y="52"/>
                    <a:pt x="0" y="41"/>
                    <a:pt x="0" y="26"/>
                  </a:cubicBezTo>
                  <a:cubicBezTo>
                    <a:pt x="0" y="12"/>
                    <a:pt x="12" y="0"/>
                    <a:pt x="27" y="0"/>
                  </a:cubicBezTo>
                  <a:cubicBezTo>
                    <a:pt x="41" y="0"/>
                    <a:pt x="53" y="12"/>
                    <a:pt x="53" y="26"/>
                  </a:cubicBezTo>
                  <a:cubicBezTo>
                    <a:pt x="53" y="29"/>
                    <a:pt x="51" y="32"/>
                    <a:pt x="47" y="32"/>
                  </a:cubicBezTo>
                  <a:cubicBezTo>
                    <a:pt x="44" y="32"/>
                    <a:pt x="41" y="29"/>
                    <a:pt x="41" y="26"/>
                  </a:cubicBezTo>
                  <a:cubicBezTo>
                    <a:pt x="41" y="18"/>
                    <a:pt x="35" y="12"/>
                    <a:pt x="27" y="12"/>
                  </a:cubicBezTo>
                  <a:cubicBezTo>
                    <a:pt x="19" y="12"/>
                    <a:pt x="12" y="18"/>
                    <a:pt x="12" y="26"/>
                  </a:cubicBezTo>
                  <a:cubicBezTo>
                    <a:pt x="12" y="34"/>
                    <a:pt x="19" y="40"/>
                    <a:pt x="27" y="40"/>
                  </a:cubicBezTo>
                  <a:cubicBezTo>
                    <a:pt x="41" y="40"/>
                    <a:pt x="53" y="52"/>
                    <a:pt x="53" y="67"/>
                  </a:cubicBezTo>
                  <a:cubicBezTo>
                    <a:pt x="53" y="81"/>
                    <a:pt x="41" y="93"/>
                    <a:pt x="27"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44" name="Group 79" descr="Speed Dashboard">
            <a:extLst>
              <a:ext uri="{FF2B5EF4-FFF2-40B4-BE49-F238E27FC236}">
                <a16:creationId xmlns:a16="http://schemas.microsoft.com/office/drawing/2014/main" id="{F1F5A81F-C380-4547-B8B6-9F2400A5D20E}"/>
              </a:ext>
              <a:ext uri="{C183D7F6-B498-43B3-948B-1728B52AA6E4}">
                <adec:decorative xmlns:adec="http://schemas.microsoft.com/office/drawing/2017/decorative" val="0"/>
              </a:ext>
            </a:extLst>
          </p:cNvPr>
          <p:cNvGrpSpPr>
            <a:grpSpLocks noChangeAspect="1"/>
          </p:cNvGrpSpPr>
          <p:nvPr/>
        </p:nvGrpSpPr>
        <p:grpSpPr bwMode="auto">
          <a:xfrm>
            <a:off x="3257796" y="4568520"/>
            <a:ext cx="964850" cy="684000"/>
            <a:chOff x="3437" y="1784"/>
            <a:chExt cx="426" cy="302"/>
          </a:xfrm>
          <a:solidFill>
            <a:schemeClr val="accent1"/>
          </a:solidFill>
        </p:grpSpPr>
        <p:sp>
          <p:nvSpPr>
            <p:cNvPr id="45" name="Freeform 80">
              <a:extLst>
                <a:ext uri="{FF2B5EF4-FFF2-40B4-BE49-F238E27FC236}">
                  <a16:creationId xmlns:a16="http://schemas.microsoft.com/office/drawing/2014/main" id="{AF4AD59A-2BFB-4627-9105-63AD6FD97E40}"/>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46" name="Freeform 81">
              <a:extLst>
                <a:ext uri="{FF2B5EF4-FFF2-40B4-BE49-F238E27FC236}">
                  <a16:creationId xmlns:a16="http://schemas.microsoft.com/office/drawing/2014/main" id="{264118C4-464C-4AC7-95AE-242FDF0C337E}"/>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47" name="Freeform 82">
              <a:extLst>
                <a:ext uri="{FF2B5EF4-FFF2-40B4-BE49-F238E27FC236}">
                  <a16:creationId xmlns:a16="http://schemas.microsoft.com/office/drawing/2014/main" id="{2D022177-183B-42ED-91D9-C3688239560E}"/>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48" name="Freeform 83">
              <a:extLst>
                <a:ext uri="{FF2B5EF4-FFF2-40B4-BE49-F238E27FC236}">
                  <a16:creationId xmlns:a16="http://schemas.microsoft.com/office/drawing/2014/main" id="{9268DD6C-EADC-4409-B77C-1920826D44A8}"/>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49" name="Freeform 84">
              <a:extLst>
                <a:ext uri="{FF2B5EF4-FFF2-40B4-BE49-F238E27FC236}">
                  <a16:creationId xmlns:a16="http://schemas.microsoft.com/office/drawing/2014/main" id="{CC971C9D-8127-46D5-937D-9C8392027BC0}"/>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0" name="Freeform 85">
              <a:extLst>
                <a:ext uri="{FF2B5EF4-FFF2-40B4-BE49-F238E27FC236}">
                  <a16:creationId xmlns:a16="http://schemas.microsoft.com/office/drawing/2014/main" id="{8F59BFEF-C1CE-4AA1-9343-28750F670F34}"/>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1" name="Freeform 86">
              <a:extLst>
                <a:ext uri="{FF2B5EF4-FFF2-40B4-BE49-F238E27FC236}">
                  <a16:creationId xmlns:a16="http://schemas.microsoft.com/office/drawing/2014/main" id="{D4CA1367-69EF-42BE-84BC-595917F9CD84}"/>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2" name="Freeform 87">
              <a:extLst>
                <a:ext uri="{FF2B5EF4-FFF2-40B4-BE49-F238E27FC236}">
                  <a16:creationId xmlns:a16="http://schemas.microsoft.com/office/drawing/2014/main" id="{85407175-C14A-4A5A-A8A8-5A2BC99D0692}"/>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3" name="Freeform 88">
              <a:extLst>
                <a:ext uri="{FF2B5EF4-FFF2-40B4-BE49-F238E27FC236}">
                  <a16:creationId xmlns:a16="http://schemas.microsoft.com/office/drawing/2014/main" id="{88D9E731-2B37-4224-AF11-133A62EFF035}"/>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4" name="Freeform 89">
              <a:extLst>
                <a:ext uri="{FF2B5EF4-FFF2-40B4-BE49-F238E27FC236}">
                  <a16:creationId xmlns:a16="http://schemas.microsoft.com/office/drawing/2014/main" id="{65FAE5A7-5C70-4785-BF15-49874F255C00}"/>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5" name="Freeform 90">
              <a:extLst>
                <a:ext uri="{FF2B5EF4-FFF2-40B4-BE49-F238E27FC236}">
                  <a16:creationId xmlns:a16="http://schemas.microsoft.com/office/drawing/2014/main" id="{F5CF8E6B-78BA-4360-9C20-8A9A84FAB312}"/>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grpSp>
        <p:nvGrpSpPr>
          <p:cNvPr id="56" name="Group 92" descr="Mobile Devices">
            <a:extLst>
              <a:ext uri="{FF2B5EF4-FFF2-40B4-BE49-F238E27FC236}">
                <a16:creationId xmlns:a16="http://schemas.microsoft.com/office/drawing/2014/main" id="{2D4F9F77-4E31-473F-BBF2-FFCEE8C22EF2}"/>
              </a:ext>
              <a:ext uri="{C183D7F6-B498-43B3-948B-1728B52AA6E4}">
                <adec:decorative xmlns:adec="http://schemas.microsoft.com/office/drawing/2017/decorative" val="0"/>
              </a:ext>
            </a:extLst>
          </p:cNvPr>
          <p:cNvGrpSpPr>
            <a:grpSpLocks noChangeAspect="1"/>
          </p:cNvGrpSpPr>
          <p:nvPr/>
        </p:nvGrpSpPr>
        <p:grpSpPr bwMode="auto">
          <a:xfrm>
            <a:off x="5613598" y="2490082"/>
            <a:ext cx="964800" cy="688224"/>
            <a:chOff x="341" y="1769"/>
            <a:chExt cx="450" cy="321"/>
          </a:xfrm>
          <a:solidFill>
            <a:schemeClr val="accent1"/>
          </a:solidFill>
        </p:grpSpPr>
        <p:sp>
          <p:nvSpPr>
            <p:cNvPr id="57" name="Freeform 93">
              <a:extLst>
                <a:ext uri="{FF2B5EF4-FFF2-40B4-BE49-F238E27FC236}">
                  <a16:creationId xmlns:a16="http://schemas.microsoft.com/office/drawing/2014/main" id="{CB951A97-CFFE-458F-A923-E58890DA5647}"/>
                </a:ext>
              </a:extLst>
            </p:cNvPr>
            <p:cNvSpPr>
              <a:spLocks noEditPoints="1"/>
            </p:cNvSpPr>
            <p:nvPr/>
          </p:nvSpPr>
          <p:spPr bwMode="auto">
            <a:xfrm>
              <a:off x="447" y="1923"/>
              <a:ext cx="101" cy="167"/>
            </a:xfrm>
            <a:custGeom>
              <a:avLst/>
              <a:gdLst>
                <a:gd name="T0" fmla="*/ 68 w 68"/>
                <a:gd name="T1" fmla="*/ 14 h 113"/>
                <a:gd name="T2" fmla="*/ 54 w 68"/>
                <a:gd name="T3" fmla="*/ 0 h 113"/>
                <a:gd name="T4" fmla="*/ 13 w 68"/>
                <a:gd name="T5" fmla="*/ 0 h 113"/>
                <a:gd name="T6" fmla="*/ 0 w 68"/>
                <a:gd name="T7" fmla="*/ 14 h 113"/>
                <a:gd name="T8" fmla="*/ 0 w 68"/>
                <a:gd name="T9" fmla="*/ 100 h 113"/>
                <a:gd name="T10" fmla="*/ 13 w 68"/>
                <a:gd name="T11" fmla="*/ 113 h 113"/>
                <a:gd name="T12" fmla="*/ 54 w 68"/>
                <a:gd name="T13" fmla="*/ 113 h 113"/>
                <a:gd name="T14" fmla="*/ 68 w 68"/>
                <a:gd name="T15" fmla="*/ 100 h 113"/>
                <a:gd name="T16" fmla="*/ 68 w 68"/>
                <a:gd name="T17" fmla="*/ 14 h 113"/>
                <a:gd name="T18" fmla="*/ 58 w 68"/>
                <a:gd name="T19" fmla="*/ 100 h 113"/>
                <a:gd name="T20" fmla="*/ 54 w 68"/>
                <a:gd name="T21" fmla="*/ 104 h 113"/>
                <a:gd name="T22" fmla="*/ 13 w 68"/>
                <a:gd name="T23" fmla="*/ 104 h 113"/>
                <a:gd name="T24" fmla="*/ 9 w 68"/>
                <a:gd name="T25" fmla="*/ 100 h 113"/>
                <a:gd name="T26" fmla="*/ 9 w 68"/>
                <a:gd name="T27" fmla="*/ 90 h 113"/>
                <a:gd name="T28" fmla="*/ 58 w 68"/>
                <a:gd name="T29" fmla="*/ 90 h 113"/>
                <a:gd name="T30" fmla="*/ 58 w 68"/>
                <a:gd name="T31" fmla="*/ 100 h 113"/>
                <a:gd name="T32" fmla="*/ 58 w 68"/>
                <a:gd name="T33" fmla="*/ 81 h 113"/>
                <a:gd name="T34" fmla="*/ 9 w 68"/>
                <a:gd name="T35" fmla="*/ 81 h 113"/>
                <a:gd name="T36" fmla="*/ 9 w 68"/>
                <a:gd name="T37" fmla="*/ 31 h 113"/>
                <a:gd name="T38" fmla="*/ 58 w 68"/>
                <a:gd name="T39" fmla="*/ 31 h 113"/>
                <a:gd name="T40" fmla="*/ 58 w 68"/>
                <a:gd name="T41" fmla="*/ 81 h 113"/>
                <a:gd name="T42" fmla="*/ 58 w 68"/>
                <a:gd name="T43" fmla="*/ 22 h 113"/>
                <a:gd name="T44" fmla="*/ 9 w 68"/>
                <a:gd name="T45" fmla="*/ 22 h 113"/>
                <a:gd name="T46" fmla="*/ 9 w 68"/>
                <a:gd name="T47" fmla="*/ 14 h 113"/>
                <a:gd name="T48" fmla="*/ 13 w 68"/>
                <a:gd name="T49" fmla="*/ 9 h 113"/>
                <a:gd name="T50" fmla="*/ 54 w 68"/>
                <a:gd name="T51" fmla="*/ 9 h 113"/>
                <a:gd name="T52" fmla="*/ 58 w 68"/>
                <a:gd name="T53" fmla="*/ 14 h 113"/>
                <a:gd name="T54" fmla="*/ 58 w 68"/>
                <a:gd name="T55" fmla="*/ 2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13">
                  <a:moveTo>
                    <a:pt x="68" y="14"/>
                  </a:moveTo>
                  <a:cubicBezTo>
                    <a:pt x="68" y="6"/>
                    <a:pt x="62" y="0"/>
                    <a:pt x="54" y="0"/>
                  </a:cubicBezTo>
                  <a:cubicBezTo>
                    <a:pt x="13" y="0"/>
                    <a:pt x="13" y="0"/>
                    <a:pt x="13" y="0"/>
                  </a:cubicBezTo>
                  <a:cubicBezTo>
                    <a:pt x="6" y="0"/>
                    <a:pt x="0" y="6"/>
                    <a:pt x="0" y="14"/>
                  </a:cubicBezTo>
                  <a:cubicBezTo>
                    <a:pt x="0" y="100"/>
                    <a:pt x="0" y="100"/>
                    <a:pt x="0" y="100"/>
                  </a:cubicBezTo>
                  <a:cubicBezTo>
                    <a:pt x="0" y="107"/>
                    <a:pt x="6" y="113"/>
                    <a:pt x="13" y="113"/>
                  </a:cubicBezTo>
                  <a:cubicBezTo>
                    <a:pt x="54" y="113"/>
                    <a:pt x="54" y="113"/>
                    <a:pt x="54" y="113"/>
                  </a:cubicBezTo>
                  <a:cubicBezTo>
                    <a:pt x="62" y="113"/>
                    <a:pt x="68" y="107"/>
                    <a:pt x="68" y="100"/>
                  </a:cubicBezTo>
                  <a:lnTo>
                    <a:pt x="68" y="14"/>
                  </a:lnTo>
                  <a:close/>
                  <a:moveTo>
                    <a:pt x="58" y="100"/>
                  </a:moveTo>
                  <a:cubicBezTo>
                    <a:pt x="58" y="102"/>
                    <a:pt x="56" y="104"/>
                    <a:pt x="54" y="104"/>
                  </a:cubicBezTo>
                  <a:cubicBezTo>
                    <a:pt x="13" y="104"/>
                    <a:pt x="13" y="104"/>
                    <a:pt x="13" y="104"/>
                  </a:cubicBezTo>
                  <a:cubicBezTo>
                    <a:pt x="11" y="104"/>
                    <a:pt x="9" y="102"/>
                    <a:pt x="9" y="100"/>
                  </a:cubicBezTo>
                  <a:cubicBezTo>
                    <a:pt x="9" y="90"/>
                    <a:pt x="9" y="90"/>
                    <a:pt x="9" y="90"/>
                  </a:cubicBezTo>
                  <a:cubicBezTo>
                    <a:pt x="58" y="90"/>
                    <a:pt x="58" y="90"/>
                    <a:pt x="58" y="90"/>
                  </a:cubicBezTo>
                  <a:lnTo>
                    <a:pt x="58" y="100"/>
                  </a:lnTo>
                  <a:close/>
                  <a:moveTo>
                    <a:pt x="58" y="81"/>
                  </a:moveTo>
                  <a:cubicBezTo>
                    <a:pt x="9" y="81"/>
                    <a:pt x="9" y="81"/>
                    <a:pt x="9" y="81"/>
                  </a:cubicBezTo>
                  <a:cubicBezTo>
                    <a:pt x="9" y="31"/>
                    <a:pt x="9" y="31"/>
                    <a:pt x="9" y="31"/>
                  </a:cubicBezTo>
                  <a:cubicBezTo>
                    <a:pt x="58" y="31"/>
                    <a:pt x="58" y="31"/>
                    <a:pt x="58" y="31"/>
                  </a:cubicBezTo>
                  <a:lnTo>
                    <a:pt x="58" y="81"/>
                  </a:lnTo>
                  <a:close/>
                  <a:moveTo>
                    <a:pt x="58" y="22"/>
                  </a:moveTo>
                  <a:cubicBezTo>
                    <a:pt x="9" y="22"/>
                    <a:pt x="9" y="22"/>
                    <a:pt x="9" y="22"/>
                  </a:cubicBezTo>
                  <a:cubicBezTo>
                    <a:pt x="9" y="14"/>
                    <a:pt x="9" y="14"/>
                    <a:pt x="9" y="14"/>
                  </a:cubicBezTo>
                  <a:cubicBezTo>
                    <a:pt x="9" y="11"/>
                    <a:pt x="11" y="9"/>
                    <a:pt x="13" y="9"/>
                  </a:cubicBezTo>
                  <a:cubicBezTo>
                    <a:pt x="54" y="9"/>
                    <a:pt x="54" y="9"/>
                    <a:pt x="54" y="9"/>
                  </a:cubicBezTo>
                  <a:cubicBezTo>
                    <a:pt x="56" y="9"/>
                    <a:pt x="58" y="11"/>
                    <a:pt x="58" y="14"/>
                  </a:cubicBezTo>
                  <a:lnTo>
                    <a:pt x="5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8" name="Freeform 94">
              <a:extLst>
                <a:ext uri="{FF2B5EF4-FFF2-40B4-BE49-F238E27FC236}">
                  <a16:creationId xmlns:a16="http://schemas.microsoft.com/office/drawing/2014/main" id="{10D6D9A0-FCB4-4347-BDB3-887A826C6256}"/>
                </a:ext>
              </a:extLst>
            </p:cNvPr>
            <p:cNvSpPr>
              <a:spLocks/>
            </p:cNvSpPr>
            <p:nvPr/>
          </p:nvSpPr>
          <p:spPr bwMode="auto">
            <a:xfrm>
              <a:off x="417" y="1806"/>
              <a:ext cx="321" cy="194"/>
            </a:xfrm>
            <a:custGeom>
              <a:avLst/>
              <a:gdLst>
                <a:gd name="T0" fmla="*/ 217 w 217"/>
                <a:gd name="T1" fmla="*/ 5 h 131"/>
                <a:gd name="T2" fmla="*/ 212 w 217"/>
                <a:gd name="T3" fmla="*/ 0 h 131"/>
                <a:gd name="T4" fmla="*/ 5 w 217"/>
                <a:gd name="T5" fmla="*/ 0 h 131"/>
                <a:gd name="T6" fmla="*/ 0 w 217"/>
                <a:gd name="T7" fmla="*/ 5 h 131"/>
                <a:gd name="T8" fmla="*/ 0 w 217"/>
                <a:gd name="T9" fmla="*/ 29 h 131"/>
                <a:gd name="T10" fmla="*/ 10 w 217"/>
                <a:gd name="T11" fmla="*/ 29 h 131"/>
                <a:gd name="T12" fmla="*/ 10 w 217"/>
                <a:gd name="T13" fmla="*/ 10 h 131"/>
                <a:gd name="T14" fmla="*/ 207 w 217"/>
                <a:gd name="T15" fmla="*/ 10 h 131"/>
                <a:gd name="T16" fmla="*/ 207 w 217"/>
                <a:gd name="T17" fmla="*/ 121 h 131"/>
                <a:gd name="T18" fmla="*/ 97 w 217"/>
                <a:gd name="T19" fmla="*/ 121 h 131"/>
                <a:gd name="T20" fmla="*/ 97 w 217"/>
                <a:gd name="T21" fmla="*/ 131 h 131"/>
                <a:gd name="T22" fmla="*/ 212 w 217"/>
                <a:gd name="T23" fmla="*/ 131 h 131"/>
                <a:gd name="T24" fmla="*/ 217 w 217"/>
                <a:gd name="T25" fmla="*/ 126 h 131"/>
                <a:gd name="T26" fmla="*/ 217 w 217"/>
                <a:gd name="T27"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31">
                  <a:moveTo>
                    <a:pt x="217" y="5"/>
                  </a:moveTo>
                  <a:cubicBezTo>
                    <a:pt x="217" y="2"/>
                    <a:pt x="215" y="0"/>
                    <a:pt x="212" y="0"/>
                  </a:cubicBezTo>
                  <a:cubicBezTo>
                    <a:pt x="5" y="0"/>
                    <a:pt x="5" y="0"/>
                    <a:pt x="5" y="0"/>
                  </a:cubicBezTo>
                  <a:cubicBezTo>
                    <a:pt x="2" y="0"/>
                    <a:pt x="0" y="2"/>
                    <a:pt x="0" y="5"/>
                  </a:cubicBezTo>
                  <a:cubicBezTo>
                    <a:pt x="0" y="29"/>
                    <a:pt x="0" y="29"/>
                    <a:pt x="0" y="29"/>
                  </a:cubicBezTo>
                  <a:cubicBezTo>
                    <a:pt x="10" y="29"/>
                    <a:pt x="10" y="29"/>
                    <a:pt x="10" y="29"/>
                  </a:cubicBezTo>
                  <a:cubicBezTo>
                    <a:pt x="10" y="10"/>
                    <a:pt x="10" y="10"/>
                    <a:pt x="10" y="10"/>
                  </a:cubicBezTo>
                  <a:cubicBezTo>
                    <a:pt x="207" y="10"/>
                    <a:pt x="207" y="10"/>
                    <a:pt x="207" y="10"/>
                  </a:cubicBezTo>
                  <a:cubicBezTo>
                    <a:pt x="207" y="121"/>
                    <a:pt x="207" y="121"/>
                    <a:pt x="207" y="121"/>
                  </a:cubicBezTo>
                  <a:cubicBezTo>
                    <a:pt x="97" y="121"/>
                    <a:pt x="97" y="121"/>
                    <a:pt x="97" y="121"/>
                  </a:cubicBezTo>
                  <a:cubicBezTo>
                    <a:pt x="97" y="131"/>
                    <a:pt x="97" y="131"/>
                    <a:pt x="97" y="131"/>
                  </a:cubicBezTo>
                  <a:cubicBezTo>
                    <a:pt x="212" y="131"/>
                    <a:pt x="212" y="131"/>
                    <a:pt x="212" y="131"/>
                  </a:cubicBezTo>
                  <a:cubicBezTo>
                    <a:pt x="215" y="131"/>
                    <a:pt x="217" y="129"/>
                    <a:pt x="217" y="126"/>
                  </a:cubicBezTo>
                  <a:lnTo>
                    <a:pt x="2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59" name="Freeform 95">
              <a:extLst>
                <a:ext uri="{FF2B5EF4-FFF2-40B4-BE49-F238E27FC236}">
                  <a16:creationId xmlns:a16="http://schemas.microsoft.com/office/drawing/2014/main" id="{DE793C49-61EB-41ED-9920-E6CB8A2295BC}"/>
                </a:ext>
              </a:extLst>
            </p:cNvPr>
            <p:cNvSpPr>
              <a:spLocks/>
            </p:cNvSpPr>
            <p:nvPr/>
          </p:nvSpPr>
          <p:spPr bwMode="auto">
            <a:xfrm>
              <a:off x="382" y="1769"/>
              <a:ext cx="409" cy="321"/>
            </a:xfrm>
            <a:custGeom>
              <a:avLst/>
              <a:gdLst>
                <a:gd name="T0" fmla="*/ 272 w 277"/>
                <a:gd name="T1" fmla="*/ 171 h 217"/>
                <a:gd name="T2" fmla="*/ 265 w 277"/>
                <a:gd name="T3" fmla="*/ 171 h 217"/>
                <a:gd name="T4" fmla="*/ 265 w 277"/>
                <a:gd name="T5" fmla="*/ 24 h 217"/>
                <a:gd name="T6" fmla="*/ 242 w 277"/>
                <a:gd name="T7" fmla="*/ 0 h 217"/>
                <a:gd name="T8" fmla="*/ 23 w 277"/>
                <a:gd name="T9" fmla="*/ 0 h 217"/>
                <a:gd name="T10" fmla="*/ 0 w 277"/>
                <a:gd name="T11" fmla="*/ 24 h 217"/>
                <a:gd name="T12" fmla="*/ 0 w 277"/>
                <a:gd name="T13" fmla="*/ 54 h 217"/>
                <a:gd name="T14" fmla="*/ 10 w 277"/>
                <a:gd name="T15" fmla="*/ 54 h 217"/>
                <a:gd name="T16" fmla="*/ 10 w 277"/>
                <a:gd name="T17" fmla="*/ 24 h 217"/>
                <a:gd name="T18" fmla="*/ 23 w 277"/>
                <a:gd name="T19" fmla="*/ 10 h 217"/>
                <a:gd name="T20" fmla="*/ 242 w 277"/>
                <a:gd name="T21" fmla="*/ 10 h 217"/>
                <a:gd name="T22" fmla="*/ 255 w 277"/>
                <a:gd name="T23" fmla="*/ 24 h 217"/>
                <a:gd name="T24" fmla="*/ 255 w 277"/>
                <a:gd name="T25" fmla="*/ 171 h 217"/>
                <a:gd name="T26" fmla="*/ 163 w 277"/>
                <a:gd name="T27" fmla="*/ 171 h 217"/>
                <a:gd name="T28" fmla="*/ 158 w 277"/>
                <a:gd name="T29" fmla="*/ 176 h 217"/>
                <a:gd name="T30" fmla="*/ 158 w 277"/>
                <a:gd name="T31" fmla="*/ 183 h 217"/>
                <a:gd name="T32" fmla="*/ 121 w 277"/>
                <a:gd name="T33" fmla="*/ 183 h 217"/>
                <a:gd name="T34" fmla="*/ 121 w 277"/>
                <a:gd name="T35" fmla="*/ 193 h 217"/>
                <a:gd name="T36" fmla="*/ 163 w 277"/>
                <a:gd name="T37" fmla="*/ 193 h 217"/>
                <a:gd name="T38" fmla="*/ 168 w 277"/>
                <a:gd name="T39" fmla="*/ 188 h 217"/>
                <a:gd name="T40" fmla="*/ 168 w 277"/>
                <a:gd name="T41" fmla="*/ 181 h 217"/>
                <a:gd name="T42" fmla="*/ 267 w 277"/>
                <a:gd name="T43" fmla="*/ 181 h 217"/>
                <a:gd name="T44" fmla="*/ 267 w 277"/>
                <a:gd name="T45" fmla="*/ 200 h 217"/>
                <a:gd name="T46" fmla="*/ 260 w 277"/>
                <a:gd name="T47" fmla="*/ 207 h 217"/>
                <a:gd name="T48" fmla="*/ 121 w 277"/>
                <a:gd name="T49" fmla="*/ 207 h 217"/>
                <a:gd name="T50" fmla="*/ 121 w 277"/>
                <a:gd name="T51" fmla="*/ 208 h 217"/>
                <a:gd name="T52" fmla="*/ 117 w 277"/>
                <a:gd name="T53" fmla="*/ 216 h 217"/>
                <a:gd name="T54" fmla="*/ 116 w 277"/>
                <a:gd name="T55" fmla="*/ 217 h 217"/>
                <a:gd name="T56" fmla="*/ 260 w 277"/>
                <a:gd name="T57" fmla="*/ 217 h 217"/>
                <a:gd name="T58" fmla="*/ 277 w 277"/>
                <a:gd name="T59" fmla="*/ 200 h 217"/>
                <a:gd name="T60" fmla="*/ 277 w 277"/>
                <a:gd name="T61" fmla="*/ 176 h 217"/>
                <a:gd name="T62" fmla="*/ 272 w 277"/>
                <a:gd name="T63" fmla="*/ 17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217">
                  <a:moveTo>
                    <a:pt x="272" y="171"/>
                  </a:moveTo>
                  <a:cubicBezTo>
                    <a:pt x="265" y="171"/>
                    <a:pt x="265" y="171"/>
                    <a:pt x="265" y="171"/>
                  </a:cubicBezTo>
                  <a:cubicBezTo>
                    <a:pt x="265" y="24"/>
                    <a:pt x="265" y="24"/>
                    <a:pt x="265" y="24"/>
                  </a:cubicBezTo>
                  <a:cubicBezTo>
                    <a:pt x="265" y="11"/>
                    <a:pt x="255" y="0"/>
                    <a:pt x="242" y="0"/>
                  </a:cubicBezTo>
                  <a:cubicBezTo>
                    <a:pt x="23" y="0"/>
                    <a:pt x="23" y="0"/>
                    <a:pt x="23" y="0"/>
                  </a:cubicBezTo>
                  <a:cubicBezTo>
                    <a:pt x="10" y="0"/>
                    <a:pt x="0" y="11"/>
                    <a:pt x="0" y="24"/>
                  </a:cubicBezTo>
                  <a:cubicBezTo>
                    <a:pt x="0" y="54"/>
                    <a:pt x="0" y="54"/>
                    <a:pt x="0" y="54"/>
                  </a:cubicBezTo>
                  <a:cubicBezTo>
                    <a:pt x="10" y="54"/>
                    <a:pt x="10" y="54"/>
                    <a:pt x="10" y="54"/>
                  </a:cubicBezTo>
                  <a:cubicBezTo>
                    <a:pt x="10" y="24"/>
                    <a:pt x="10" y="24"/>
                    <a:pt x="10" y="24"/>
                  </a:cubicBezTo>
                  <a:cubicBezTo>
                    <a:pt x="10" y="16"/>
                    <a:pt x="16" y="10"/>
                    <a:pt x="23" y="10"/>
                  </a:cubicBezTo>
                  <a:cubicBezTo>
                    <a:pt x="242" y="10"/>
                    <a:pt x="242" y="10"/>
                    <a:pt x="242" y="10"/>
                  </a:cubicBezTo>
                  <a:cubicBezTo>
                    <a:pt x="249" y="10"/>
                    <a:pt x="255" y="16"/>
                    <a:pt x="255" y="24"/>
                  </a:cubicBezTo>
                  <a:cubicBezTo>
                    <a:pt x="255" y="171"/>
                    <a:pt x="255" y="171"/>
                    <a:pt x="255" y="171"/>
                  </a:cubicBezTo>
                  <a:cubicBezTo>
                    <a:pt x="163" y="171"/>
                    <a:pt x="163" y="171"/>
                    <a:pt x="163" y="171"/>
                  </a:cubicBezTo>
                  <a:cubicBezTo>
                    <a:pt x="160" y="171"/>
                    <a:pt x="158" y="173"/>
                    <a:pt x="158" y="176"/>
                  </a:cubicBezTo>
                  <a:cubicBezTo>
                    <a:pt x="158" y="183"/>
                    <a:pt x="158" y="183"/>
                    <a:pt x="158" y="183"/>
                  </a:cubicBezTo>
                  <a:cubicBezTo>
                    <a:pt x="121" y="183"/>
                    <a:pt x="121" y="183"/>
                    <a:pt x="121" y="183"/>
                  </a:cubicBezTo>
                  <a:cubicBezTo>
                    <a:pt x="121" y="193"/>
                    <a:pt x="121" y="193"/>
                    <a:pt x="121" y="193"/>
                  </a:cubicBezTo>
                  <a:cubicBezTo>
                    <a:pt x="163" y="193"/>
                    <a:pt x="163" y="193"/>
                    <a:pt x="163" y="193"/>
                  </a:cubicBezTo>
                  <a:cubicBezTo>
                    <a:pt x="166" y="193"/>
                    <a:pt x="168" y="191"/>
                    <a:pt x="168" y="188"/>
                  </a:cubicBezTo>
                  <a:cubicBezTo>
                    <a:pt x="168" y="181"/>
                    <a:pt x="168" y="181"/>
                    <a:pt x="168" y="181"/>
                  </a:cubicBezTo>
                  <a:cubicBezTo>
                    <a:pt x="267" y="181"/>
                    <a:pt x="267" y="181"/>
                    <a:pt x="267" y="181"/>
                  </a:cubicBezTo>
                  <a:cubicBezTo>
                    <a:pt x="267" y="200"/>
                    <a:pt x="267" y="200"/>
                    <a:pt x="267" y="200"/>
                  </a:cubicBezTo>
                  <a:cubicBezTo>
                    <a:pt x="267" y="204"/>
                    <a:pt x="264" y="207"/>
                    <a:pt x="260" y="207"/>
                  </a:cubicBezTo>
                  <a:cubicBezTo>
                    <a:pt x="121" y="207"/>
                    <a:pt x="121" y="207"/>
                    <a:pt x="121" y="207"/>
                  </a:cubicBezTo>
                  <a:cubicBezTo>
                    <a:pt x="121" y="208"/>
                    <a:pt x="121" y="208"/>
                    <a:pt x="121" y="208"/>
                  </a:cubicBezTo>
                  <a:cubicBezTo>
                    <a:pt x="120" y="211"/>
                    <a:pt x="119" y="213"/>
                    <a:pt x="117" y="216"/>
                  </a:cubicBezTo>
                  <a:cubicBezTo>
                    <a:pt x="116" y="217"/>
                    <a:pt x="116" y="217"/>
                    <a:pt x="116" y="217"/>
                  </a:cubicBezTo>
                  <a:cubicBezTo>
                    <a:pt x="260" y="217"/>
                    <a:pt x="260" y="217"/>
                    <a:pt x="260" y="217"/>
                  </a:cubicBezTo>
                  <a:cubicBezTo>
                    <a:pt x="270" y="217"/>
                    <a:pt x="277" y="209"/>
                    <a:pt x="277" y="200"/>
                  </a:cubicBezTo>
                  <a:cubicBezTo>
                    <a:pt x="277" y="176"/>
                    <a:pt x="277" y="176"/>
                    <a:pt x="277" y="176"/>
                  </a:cubicBezTo>
                  <a:cubicBezTo>
                    <a:pt x="277" y="173"/>
                    <a:pt x="275" y="171"/>
                    <a:pt x="27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60" name="Freeform 96">
              <a:extLst>
                <a:ext uri="{FF2B5EF4-FFF2-40B4-BE49-F238E27FC236}">
                  <a16:creationId xmlns:a16="http://schemas.microsoft.com/office/drawing/2014/main" id="{1BD834B9-DBDB-4E2A-BDE4-EC28DE74A0D0}"/>
                </a:ext>
              </a:extLst>
            </p:cNvPr>
            <p:cNvSpPr>
              <a:spLocks/>
            </p:cNvSpPr>
            <p:nvPr/>
          </p:nvSpPr>
          <p:spPr bwMode="auto">
            <a:xfrm>
              <a:off x="369" y="1895"/>
              <a:ext cx="115" cy="154"/>
            </a:xfrm>
            <a:custGeom>
              <a:avLst/>
              <a:gdLst>
                <a:gd name="T0" fmla="*/ 78 w 78"/>
                <a:gd name="T1" fmla="*/ 9 h 104"/>
                <a:gd name="T2" fmla="*/ 78 w 78"/>
                <a:gd name="T3" fmla="*/ 5 h 104"/>
                <a:gd name="T4" fmla="*/ 73 w 78"/>
                <a:gd name="T5" fmla="*/ 0 h 104"/>
                <a:gd name="T6" fmla="*/ 5 w 78"/>
                <a:gd name="T7" fmla="*/ 0 h 104"/>
                <a:gd name="T8" fmla="*/ 0 w 78"/>
                <a:gd name="T9" fmla="*/ 5 h 104"/>
                <a:gd name="T10" fmla="*/ 0 w 78"/>
                <a:gd name="T11" fmla="*/ 100 h 104"/>
                <a:gd name="T12" fmla="*/ 5 w 78"/>
                <a:gd name="T13" fmla="*/ 104 h 104"/>
                <a:gd name="T14" fmla="*/ 43 w 78"/>
                <a:gd name="T15" fmla="*/ 104 h 104"/>
                <a:gd name="T16" fmla="*/ 43 w 78"/>
                <a:gd name="T17" fmla="*/ 95 h 104"/>
                <a:gd name="T18" fmla="*/ 10 w 78"/>
                <a:gd name="T19" fmla="*/ 95 h 104"/>
                <a:gd name="T20" fmla="*/ 10 w 78"/>
                <a:gd name="T21" fmla="*/ 9 h 104"/>
                <a:gd name="T22" fmla="*/ 78 w 78"/>
                <a:gd name="T23" fmla="*/ 9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04">
                  <a:moveTo>
                    <a:pt x="78" y="9"/>
                  </a:moveTo>
                  <a:cubicBezTo>
                    <a:pt x="78" y="5"/>
                    <a:pt x="78" y="5"/>
                    <a:pt x="78" y="5"/>
                  </a:cubicBezTo>
                  <a:cubicBezTo>
                    <a:pt x="78" y="2"/>
                    <a:pt x="76" y="0"/>
                    <a:pt x="73" y="0"/>
                  </a:cubicBezTo>
                  <a:cubicBezTo>
                    <a:pt x="5" y="0"/>
                    <a:pt x="5" y="0"/>
                    <a:pt x="5" y="0"/>
                  </a:cubicBezTo>
                  <a:cubicBezTo>
                    <a:pt x="3" y="0"/>
                    <a:pt x="0" y="2"/>
                    <a:pt x="0" y="5"/>
                  </a:cubicBezTo>
                  <a:cubicBezTo>
                    <a:pt x="0" y="100"/>
                    <a:pt x="0" y="100"/>
                    <a:pt x="0" y="100"/>
                  </a:cubicBezTo>
                  <a:cubicBezTo>
                    <a:pt x="0" y="102"/>
                    <a:pt x="3" y="104"/>
                    <a:pt x="5" y="104"/>
                  </a:cubicBezTo>
                  <a:cubicBezTo>
                    <a:pt x="43" y="104"/>
                    <a:pt x="43" y="104"/>
                    <a:pt x="43" y="104"/>
                  </a:cubicBezTo>
                  <a:cubicBezTo>
                    <a:pt x="43" y="95"/>
                    <a:pt x="43" y="95"/>
                    <a:pt x="43" y="95"/>
                  </a:cubicBezTo>
                  <a:cubicBezTo>
                    <a:pt x="10" y="95"/>
                    <a:pt x="10" y="95"/>
                    <a:pt x="10" y="95"/>
                  </a:cubicBezTo>
                  <a:cubicBezTo>
                    <a:pt x="10" y="9"/>
                    <a:pt x="10" y="9"/>
                    <a:pt x="10" y="9"/>
                  </a:cubicBezTo>
                  <a:lnTo>
                    <a:pt x="7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61" name="Freeform 97">
              <a:extLst>
                <a:ext uri="{FF2B5EF4-FFF2-40B4-BE49-F238E27FC236}">
                  <a16:creationId xmlns:a16="http://schemas.microsoft.com/office/drawing/2014/main" id="{A1434B4E-4F78-4F97-B96B-145D7F885329}"/>
                </a:ext>
              </a:extLst>
            </p:cNvPr>
            <p:cNvSpPr>
              <a:spLocks/>
            </p:cNvSpPr>
            <p:nvPr/>
          </p:nvSpPr>
          <p:spPr bwMode="auto">
            <a:xfrm>
              <a:off x="341" y="1864"/>
              <a:ext cx="171" cy="226"/>
            </a:xfrm>
            <a:custGeom>
              <a:avLst/>
              <a:gdLst>
                <a:gd name="T0" fmla="*/ 99 w 116"/>
                <a:gd name="T1" fmla="*/ 9 h 153"/>
                <a:gd name="T2" fmla="*/ 106 w 116"/>
                <a:gd name="T3" fmla="*/ 17 h 153"/>
                <a:gd name="T4" fmla="*/ 106 w 116"/>
                <a:gd name="T5" fmla="*/ 31 h 153"/>
                <a:gd name="T6" fmla="*/ 116 w 116"/>
                <a:gd name="T7" fmla="*/ 31 h 153"/>
                <a:gd name="T8" fmla="*/ 116 w 116"/>
                <a:gd name="T9" fmla="*/ 17 h 153"/>
                <a:gd name="T10" fmla="*/ 99 w 116"/>
                <a:gd name="T11" fmla="*/ 0 h 153"/>
                <a:gd name="T12" fmla="*/ 17 w 116"/>
                <a:gd name="T13" fmla="*/ 0 h 153"/>
                <a:gd name="T14" fmla="*/ 0 w 116"/>
                <a:gd name="T15" fmla="*/ 17 h 153"/>
                <a:gd name="T16" fmla="*/ 0 w 116"/>
                <a:gd name="T17" fmla="*/ 136 h 153"/>
                <a:gd name="T18" fmla="*/ 17 w 116"/>
                <a:gd name="T19" fmla="*/ 153 h 153"/>
                <a:gd name="T20" fmla="*/ 68 w 116"/>
                <a:gd name="T21" fmla="*/ 153 h 153"/>
                <a:gd name="T22" fmla="*/ 67 w 116"/>
                <a:gd name="T23" fmla="*/ 152 h 153"/>
                <a:gd name="T24" fmla="*/ 63 w 116"/>
                <a:gd name="T25" fmla="*/ 144 h 153"/>
                <a:gd name="T26" fmla="*/ 63 w 116"/>
                <a:gd name="T27" fmla="*/ 144 h 153"/>
                <a:gd name="T28" fmla="*/ 17 w 116"/>
                <a:gd name="T29" fmla="*/ 144 h 153"/>
                <a:gd name="T30" fmla="*/ 10 w 116"/>
                <a:gd name="T31" fmla="*/ 136 h 153"/>
                <a:gd name="T32" fmla="*/ 10 w 116"/>
                <a:gd name="T33" fmla="*/ 17 h 153"/>
                <a:gd name="T34" fmla="*/ 17 w 116"/>
                <a:gd name="T35" fmla="*/ 9 h 153"/>
                <a:gd name="T36" fmla="*/ 99 w 116"/>
                <a:gd name="T37" fmla="*/ 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53">
                  <a:moveTo>
                    <a:pt x="99" y="9"/>
                  </a:moveTo>
                  <a:cubicBezTo>
                    <a:pt x="103" y="9"/>
                    <a:pt x="106" y="13"/>
                    <a:pt x="106" y="17"/>
                  </a:cubicBezTo>
                  <a:cubicBezTo>
                    <a:pt x="106" y="31"/>
                    <a:pt x="106" y="31"/>
                    <a:pt x="106" y="31"/>
                  </a:cubicBezTo>
                  <a:cubicBezTo>
                    <a:pt x="116" y="31"/>
                    <a:pt x="116" y="31"/>
                    <a:pt x="116" y="31"/>
                  </a:cubicBezTo>
                  <a:cubicBezTo>
                    <a:pt x="116" y="17"/>
                    <a:pt x="116" y="17"/>
                    <a:pt x="116" y="17"/>
                  </a:cubicBezTo>
                  <a:cubicBezTo>
                    <a:pt x="116" y="7"/>
                    <a:pt x="108" y="0"/>
                    <a:pt x="99" y="0"/>
                  </a:cubicBezTo>
                  <a:cubicBezTo>
                    <a:pt x="17" y="0"/>
                    <a:pt x="17" y="0"/>
                    <a:pt x="17" y="0"/>
                  </a:cubicBezTo>
                  <a:cubicBezTo>
                    <a:pt x="8" y="0"/>
                    <a:pt x="0" y="7"/>
                    <a:pt x="0" y="17"/>
                  </a:cubicBezTo>
                  <a:cubicBezTo>
                    <a:pt x="0" y="136"/>
                    <a:pt x="0" y="136"/>
                    <a:pt x="0" y="136"/>
                  </a:cubicBezTo>
                  <a:cubicBezTo>
                    <a:pt x="0" y="145"/>
                    <a:pt x="8" y="153"/>
                    <a:pt x="17" y="153"/>
                  </a:cubicBezTo>
                  <a:cubicBezTo>
                    <a:pt x="68" y="153"/>
                    <a:pt x="68" y="153"/>
                    <a:pt x="68" y="153"/>
                  </a:cubicBezTo>
                  <a:cubicBezTo>
                    <a:pt x="67" y="152"/>
                    <a:pt x="67" y="152"/>
                    <a:pt x="67" y="152"/>
                  </a:cubicBezTo>
                  <a:cubicBezTo>
                    <a:pt x="65" y="150"/>
                    <a:pt x="64" y="147"/>
                    <a:pt x="63" y="144"/>
                  </a:cubicBezTo>
                  <a:cubicBezTo>
                    <a:pt x="63" y="144"/>
                    <a:pt x="63" y="144"/>
                    <a:pt x="63" y="144"/>
                  </a:cubicBezTo>
                  <a:cubicBezTo>
                    <a:pt x="17" y="144"/>
                    <a:pt x="17" y="144"/>
                    <a:pt x="17" y="144"/>
                  </a:cubicBezTo>
                  <a:cubicBezTo>
                    <a:pt x="13" y="144"/>
                    <a:pt x="10" y="140"/>
                    <a:pt x="10" y="136"/>
                  </a:cubicBezTo>
                  <a:cubicBezTo>
                    <a:pt x="10" y="17"/>
                    <a:pt x="10" y="17"/>
                    <a:pt x="10" y="17"/>
                  </a:cubicBezTo>
                  <a:cubicBezTo>
                    <a:pt x="10" y="13"/>
                    <a:pt x="13" y="9"/>
                    <a:pt x="17" y="9"/>
                  </a:cubicBezTo>
                  <a:lnTo>
                    <a:pt x="9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62" name="Oval 98">
              <a:extLst>
                <a:ext uri="{FF2B5EF4-FFF2-40B4-BE49-F238E27FC236}">
                  <a16:creationId xmlns:a16="http://schemas.microsoft.com/office/drawing/2014/main" id="{348A48AC-ACDD-44F9-876A-986C64E9763C}"/>
                </a:ext>
              </a:extLst>
            </p:cNvPr>
            <p:cNvSpPr>
              <a:spLocks noChangeArrowheads="1"/>
            </p:cNvSpPr>
            <p:nvPr/>
          </p:nvSpPr>
          <p:spPr bwMode="auto">
            <a:xfrm>
              <a:off x="490" y="2059"/>
              <a:ext cx="13"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63" name="Oval 99">
              <a:extLst>
                <a:ext uri="{FF2B5EF4-FFF2-40B4-BE49-F238E27FC236}">
                  <a16:creationId xmlns:a16="http://schemas.microsoft.com/office/drawing/2014/main" id="{83011670-E2D9-4E60-A740-7A52D0232EFF}"/>
                </a:ext>
              </a:extLst>
            </p:cNvPr>
            <p:cNvSpPr>
              <a:spLocks noChangeArrowheads="1"/>
            </p:cNvSpPr>
            <p:nvPr/>
          </p:nvSpPr>
          <p:spPr bwMode="auto">
            <a:xfrm>
              <a:off x="422" y="1882"/>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sp>
          <p:nvSpPr>
            <p:cNvPr id="64" name="Oval 100">
              <a:extLst>
                <a:ext uri="{FF2B5EF4-FFF2-40B4-BE49-F238E27FC236}">
                  <a16:creationId xmlns:a16="http://schemas.microsoft.com/office/drawing/2014/main" id="{E63FB304-F6F3-4F98-8825-A9A4A44CE1E7}"/>
                </a:ext>
              </a:extLst>
            </p:cNvPr>
            <p:cNvSpPr>
              <a:spLocks noChangeArrowheads="1"/>
            </p:cNvSpPr>
            <p:nvPr/>
          </p:nvSpPr>
          <p:spPr bwMode="auto">
            <a:xfrm>
              <a:off x="417" y="2053"/>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mj-lt"/>
              </a:endParaRPr>
            </a:p>
          </p:txBody>
        </p:sp>
      </p:grpSp>
      <p:sp>
        <p:nvSpPr>
          <p:cNvPr id="65" name="TextBox 64">
            <a:extLst>
              <a:ext uri="{FF2B5EF4-FFF2-40B4-BE49-F238E27FC236}">
                <a16:creationId xmlns:a16="http://schemas.microsoft.com/office/drawing/2014/main" id="{F4889765-95C5-4DCC-898F-61444482D09A}"/>
              </a:ext>
            </a:extLst>
          </p:cNvPr>
          <p:cNvSpPr txBox="1"/>
          <p:nvPr/>
        </p:nvSpPr>
        <p:spPr>
          <a:xfrm>
            <a:off x="1088582" y="3330877"/>
            <a:ext cx="1366683" cy="678425"/>
          </a:xfrm>
          <a:prstGeom prst="rect">
            <a:avLst/>
          </a:prstGeom>
          <a:noFill/>
        </p:spPr>
        <p:txBody>
          <a:bodyPr wrap="none" lIns="0" tIns="0" rIns="0" bIns="0" rtlCol="0">
            <a:noAutofit/>
          </a:bodyPr>
          <a:lstStyle/>
          <a:p>
            <a:pPr algn="ctr" defTabSz="228600">
              <a:spcAft>
                <a:spcPts val="1200"/>
              </a:spcAft>
            </a:pPr>
            <a:r>
              <a:rPr lang="en-US" noProof="0"/>
              <a:t>Web Clicks</a:t>
            </a:r>
            <a:endParaRPr lang="en-ID" noProof="0"/>
          </a:p>
        </p:txBody>
      </p:sp>
      <p:sp>
        <p:nvSpPr>
          <p:cNvPr id="66" name="TextBox 65">
            <a:extLst>
              <a:ext uri="{FF2B5EF4-FFF2-40B4-BE49-F238E27FC236}">
                <a16:creationId xmlns:a16="http://schemas.microsoft.com/office/drawing/2014/main" id="{AD186285-88A6-475B-9A91-8D68B0BB22CD}"/>
              </a:ext>
            </a:extLst>
          </p:cNvPr>
          <p:cNvSpPr txBox="1"/>
          <p:nvPr/>
        </p:nvSpPr>
        <p:spPr>
          <a:xfrm>
            <a:off x="5412658" y="3330877"/>
            <a:ext cx="1366683" cy="678425"/>
          </a:xfrm>
          <a:prstGeom prst="rect">
            <a:avLst/>
          </a:prstGeom>
          <a:noFill/>
        </p:spPr>
        <p:txBody>
          <a:bodyPr wrap="none" lIns="0" tIns="0" rIns="0" bIns="0" rtlCol="0">
            <a:noAutofit/>
          </a:bodyPr>
          <a:lstStyle/>
          <a:p>
            <a:pPr algn="ctr" defTabSz="228600">
              <a:spcAft>
                <a:spcPts val="1200"/>
              </a:spcAft>
            </a:pPr>
            <a:r>
              <a:rPr lang="en-US" noProof="0"/>
              <a:t>Wearables</a:t>
            </a:r>
            <a:endParaRPr lang="en-ID" noProof="0"/>
          </a:p>
        </p:txBody>
      </p:sp>
      <p:sp>
        <p:nvSpPr>
          <p:cNvPr id="67" name="TextBox 66">
            <a:extLst>
              <a:ext uri="{FF2B5EF4-FFF2-40B4-BE49-F238E27FC236}">
                <a16:creationId xmlns:a16="http://schemas.microsoft.com/office/drawing/2014/main" id="{8F9ACC3D-81C7-477E-A546-B12B7B68B3FA}"/>
              </a:ext>
            </a:extLst>
          </p:cNvPr>
          <p:cNvSpPr txBox="1"/>
          <p:nvPr/>
        </p:nvSpPr>
        <p:spPr>
          <a:xfrm>
            <a:off x="7701637" y="5395731"/>
            <a:ext cx="1366683" cy="678425"/>
          </a:xfrm>
          <a:prstGeom prst="rect">
            <a:avLst/>
          </a:prstGeom>
          <a:noFill/>
        </p:spPr>
        <p:txBody>
          <a:bodyPr wrap="none" lIns="0" tIns="0" rIns="0" bIns="0" rtlCol="0">
            <a:noAutofit/>
          </a:bodyPr>
          <a:lstStyle/>
          <a:p>
            <a:pPr algn="ctr" defTabSz="228600">
              <a:spcAft>
                <a:spcPts val="1200"/>
              </a:spcAft>
            </a:pPr>
            <a:r>
              <a:rPr lang="en-US" noProof="0"/>
              <a:t>Financial Market</a:t>
            </a:r>
            <a:endParaRPr lang="en-ID" noProof="0"/>
          </a:p>
        </p:txBody>
      </p:sp>
      <p:sp>
        <p:nvSpPr>
          <p:cNvPr id="68" name="TextBox 67">
            <a:extLst>
              <a:ext uri="{FF2B5EF4-FFF2-40B4-BE49-F238E27FC236}">
                <a16:creationId xmlns:a16="http://schemas.microsoft.com/office/drawing/2014/main" id="{ED4ED14D-62DF-48E3-A410-415C5C865D8D}"/>
              </a:ext>
            </a:extLst>
          </p:cNvPr>
          <p:cNvSpPr txBox="1"/>
          <p:nvPr/>
        </p:nvSpPr>
        <p:spPr>
          <a:xfrm>
            <a:off x="9758933" y="3330877"/>
            <a:ext cx="1366683" cy="678425"/>
          </a:xfrm>
          <a:prstGeom prst="rect">
            <a:avLst/>
          </a:prstGeom>
          <a:noFill/>
        </p:spPr>
        <p:txBody>
          <a:bodyPr wrap="none" lIns="0" tIns="0" rIns="0" bIns="0" rtlCol="0">
            <a:noAutofit/>
          </a:bodyPr>
          <a:lstStyle/>
          <a:p>
            <a:pPr algn="ctr" defTabSz="228600">
              <a:spcAft>
                <a:spcPts val="1200"/>
              </a:spcAft>
            </a:pPr>
            <a:r>
              <a:rPr lang="en-US" noProof="0"/>
              <a:t>Speech Recognition</a:t>
            </a:r>
            <a:endParaRPr lang="en-ID" noProof="0"/>
          </a:p>
        </p:txBody>
      </p:sp>
      <p:cxnSp>
        <p:nvCxnSpPr>
          <p:cNvPr id="70" name="Straight Connector 69">
            <a:extLst>
              <a:ext uri="{FF2B5EF4-FFF2-40B4-BE49-F238E27FC236}">
                <a16:creationId xmlns:a16="http://schemas.microsoft.com/office/drawing/2014/main" id="{BDB7D492-38E9-439A-89F8-B5E381A3BDCB}"/>
              </a:ext>
            </a:extLst>
          </p:cNvPr>
          <p:cNvCxnSpPr>
            <a:cxnSpLocks/>
          </p:cNvCxnSpPr>
          <p:nvPr/>
        </p:nvCxnSpPr>
        <p:spPr>
          <a:xfrm>
            <a:off x="1771923" y="3670089"/>
            <a:ext cx="1264572" cy="112265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B7B2404-AACD-4C02-B7FF-D3AEA6A73D27}"/>
              </a:ext>
            </a:extLst>
          </p:cNvPr>
          <p:cNvCxnSpPr>
            <a:cxnSpLocks/>
          </p:cNvCxnSpPr>
          <p:nvPr/>
        </p:nvCxnSpPr>
        <p:spPr>
          <a:xfrm flipH="1">
            <a:off x="4403178" y="3670089"/>
            <a:ext cx="1373364" cy="113851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4CEAAF-B5C2-484B-8187-956772D0AD6A}"/>
              </a:ext>
            </a:extLst>
          </p:cNvPr>
          <p:cNvCxnSpPr>
            <a:cxnSpLocks/>
          </p:cNvCxnSpPr>
          <p:nvPr/>
        </p:nvCxnSpPr>
        <p:spPr>
          <a:xfrm>
            <a:off x="6415460" y="3670089"/>
            <a:ext cx="1373361" cy="111586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058E979-E9B1-4591-A4C5-F8BAE1F5BD32}"/>
              </a:ext>
            </a:extLst>
          </p:cNvPr>
          <p:cNvCxnSpPr>
            <a:cxnSpLocks/>
          </p:cNvCxnSpPr>
          <p:nvPr/>
        </p:nvCxnSpPr>
        <p:spPr>
          <a:xfrm flipH="1">
            <a:off x="9156062" y="3660032"/>
            <a:ext cx="1286212" cy="113271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875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Motivation</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5</a:t>
            </a:fld>
            <a:endParaRPr lang="en-US"/>
          </a:p>
        </p:txBody>
      </p:sp>
      <p:sp>
        <p:nvSpPr>
          <p:cNvPr id="73" name="Content Placeholder 2">
            <a:extLst>
              <a:ext uri="{FF2B5EF4-FFF2-40B4-BE49-F238E27FC236}">
                <a16:creationId xmlns:a16="http://schemas.microsoft.com/office/drawing/2014/main" id="{47F9FD6E-54EE-46BF-B226-27D14F87400A}"/>
              </a:ext>
            </a:extLst>
          </p:cNvPr>
          <p:cNvSpPr>
            <a:spLocks noGrp="1"/>
          </p:cNvSpPr>
          <p:nvPr>
            <p:ph sz="quarter" idx="10"/>
          </p:nvPr>
        </p:nvSpPr>
        <p:spPr>
          <a:xfrm>
            <a:off x="381001" y="1949194"/>
            <a:ext cx="11430000" cy="4362706"/>
          </a:xfrm>
        </p:spPr>
        <p:txBody>
          <a:bodyPr/>
          <a:lstStyle/>
          <a:p>
            <a:r>
              <a:rPr lang="en-US"/>
              <a:t>Calculate the distance between two time series, even with different lengths</a:t>
            </a:r>
          </a:p>
          <a:p>
            <a:r>
              <a:rPr lang="en-US"/>
              <a:t>Identify which points correspond to one another</a:t>
            </a:r>
          </a:p>
        </p:txBody>
      </p:sp>
      <p:pic>
        <p:nvPicPr>
          <p:cNvPr id="2050" name="Picture 2">
            <a:extLst>
              <a:ext uri="{FF2B5EF4-FFF2-40B4-BE49-F238E27FC236}">
                <a16:creationId xmlns:a16="http://schemas.microsoft.com/office/drawing/2014/main" id="{B5AAEC8B-976D-4E7F-A04A-ABF3125095D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963927" y="2748707"/>
            <a:ext cx="4837113" cy="337574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05A2F9B7-8751-4BA4-8CFD-05412290E4A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390960" y="2748707"/>
            <a:ext cx="4837113" cy="3375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6880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Algorithm</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a:t>
                </a:r>
                <a:endParaRPr lang="en-US" sz="1400"/>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a:t>
                </a:r>
              </a:p>
              <a:p>
                <a:pPr marL="0" indent="0">
                  <a:buNone/>
                </a:pPr>
                <a:r>
                  <a:rPr lang="en-US" sz="1400" baseline="-25000"/>
                  <a:t>													</a:t>
                </a:r>
                <a:r>
                  <a:rPr lang="en-US" sz="1400"/>
                  <a:t>D</a:t>
                </a:r>
                <a:r>
                  <a:rPr lang="en-US" sz="1400" baseline="-25000"/>
                  <a:t>i + 1, j</a:t>
                </a: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6</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spTree>
    <p:extLst>
      <p:ext uri="{BB962C8B-B14F-4D97-AF65-F5344CB8AC3E}">
        <p14:creationId xmlns:p14="http://schemas.microsoft.com/office/powerpoint/2010/main" val="1278870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Exampl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a:t>
                </a:r>
                <a:endParaRPr lang="en-US" sz="1400"/>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a:t>
                </a:r>
              </a:p>
              <a:p>
                <a:pPr marL="0" indent="0">
                  <a:buNone/>
                </a:pPr>
                <a:r>
                  <a:rPr lang="en-US" sz="1400" baseline="-25000"/>
                  <a:t>													</a:t>
                </a:r>
                <a:r>
                  <a:rPr lang="en-US" sz="1400"/>
                  <a:t>D</a:t>
                </a:r>
                <a:r>
                  <a:rPr lang="en-US" sz="1400" baseline="-25000"/>
                  <a:t>i + 1, j</a:t>
                </a: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7</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nvGraphicFramePr>
        <p:xfrm>
          <a:off x="7473130" y="3439278"/>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6626636" y="512651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8327615" y="3211124"/>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graphicFrame>
        <p:nvGraphicFramePr>
          <p:cNvPr id="18" name="Chart 17">
            <a:extLst>
              <a:ext uri="{FF2B5EF4-FFF2-40B4-BE49-F238E27FC236}">
                <a16:creationId xmlns:a16="http://schemas.microsoft.com/office/drawing/2014/main" id="{80F7FB59-8985-4EDE-AC98-7E9E39E69646}"/>
              </a:ext>
            </a:extLst>
          </p:cNvPr>
          <p:cNvGraphicFramePr>
            <a:graphicFrameLocks/>
          </p:cNvGraphicFramePr>
          <p:nvPr/>
        </p:nvGraphicFramePr>
        <p:xfrm>
          <a:off x="6730179" y="1619042"/>
          <a:ext cx="4572000" cy="1104900"/>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a:extLst>
              <a:ext uri="{FF2B5EF4-FFF2-40B4-BE49-F238E27FC236}">
                <a16:creationId xmlns:a16="http://schemas.microsoft.com/office/drawing/2014/main" id="{53061039-423A-4A63-A07A-DBD4094DBDD1}"/>
              </a:ext>
            </a:extLst>
          </p:cNvPr>
          <p:cNvCxnSpPr>
            <a:cxnSpLocks/>
            <a:stCxn id="16" idx="3"/>
            <a:endCxn id="18" idx="1"/>
          </p:cNvCxnSpPr>
          <p:nvPr/>
        </p:nvCxnSpPr>
        <p:spPr>
          <a:xfrm>
            <a:off x="5461822" y="2060343"/>
            <a:ext cx="1268357" cy="11114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BC71C7E-0704-4125-8764-D2D7DE855AF7}"/>
              </a:ext>
            </a:extLst>
          </p:cNvPr>
          <p:cNvCxnSpPr>
            <a:cxnSpLocks/>
            <a:stCxn id="19" idx="3"/>
            <a:endCxn id="12" idx="0"/>
          </p:cNvCxnSpPr>
          <p:nvPr/>
        </p:nvCxnSpPr>
        <p:spPr>
          <a:xfrm>
            <a:off x="2762865" y="3220065"/>
            <a:ext cx="4438259" cy="202052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8B67C7B-5FB3-4CBB-9276-E1F568338053}"/>
              </a:ext>
            </a:extLst>
          </p:cNvPr>
          <p:cNvSpPr/>
          <p:nvPr/>
        </p:nvSpPr>
        <p:spPr>
          <a:xfrm>
            <a:off x="381000" y="1949194"/>
            <a:ext cx="5080822" cy="22229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sp>
        <p:nvSpPr>
          <p:cNvPr id="19" name="Rectangle 18">
            <a:extLst>
              <a:ext uri="{FF2B5EF4-FFF2-40B4-BE49-F238E27FC236}">
                <a16:creationId xmlns:a16="http://schemas.microsoft.com/office/drawing/2014/main" id="{7BDCA668-6229-4A7F-A222-6D0782956FB2}"/>
              </a:ext>
            </a:extLst>
          </p:cNvPr>
          <p:cNvSpPr/>
          <p:nvPr/>
        </p:nvSpPr>
        <p:spPr>
          <a:xfrm>
            <a:off x="381000" y="2517058"/>
            <a:ext cx="2381865" cy="1406013"/>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spTree>
    <p:extLst>
      <p:ext uri="{BB962C8B-B14F-4D97-AF65-F5344CB8AC3E}">
        <p14:creationId xmlns:p14="http://schemas.microsoft.com/office/powerpoint/2010/main" val="2765179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Exampl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		</a:t>
                </a:r>
                <a:r>
                  <a:rPr lang="en-US" sz="1400" b="1">
                    <a:solidFill>
                      <a:srgbClr val="A100FF"/>
                    </a:solidFill>
                  </a:rPr>
                  <a:t>= 0</a:t>
                </a:r>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		</a:t>
                </a:r>
                <a:r>
                  <a:rPr lang="en-US" sz="1400" b="1">
                    <a:solidFill>
                      <a:srgbClr val="A100FF"/>
                    </a:solidFill>
                  </a:rPr>
                  <a:t>= inf</a:t>
                </a:r>
                <a:endParaRPr lang="en-US" sz="1400" b="1" baseline="-25000">
                  <a:solidFill>
                    <a:srgbClr val="A100FF"/>
                  </a:solidFill>
                </a:endParaRPr>
              </a:p>
              <a:p>
                <a:pPr marL="0" indent="0">
                  <a:buNone/>
                </a:pPr>
                <a:r>
                  <a:rPr lang="en-US" sz="1400" baseline="-25000"/>
                  <a:t>													</a:t>
                </a:r>
                <a:r>
                  <a:rPr lang="en-US" sz="1400"/>
                  <a:t>D</a:t>
                </a:r>
                <a:r>
                  <a:rPr lang="en-US" sz="1400" baseline="-25000"/>
                  <a:t>i + 1, j		</a:t>
                </a:r>
                <a:r>
                  <a:rPr lang="en-US" sz="1400" b="1">
                    <a:solidFill>
                      <a:srgbClr val="A100FF"/>
                    </a:solidFill>
                  </a:rPr>
                  <a:t>= inf</a:t>
                </a:r>
                <a:endParaRPr lang="en-US" sz="1400" b="1" baseline="-25000">
                  <a:solidFill>
                    <a:srgbClr val="A100FF"/>
                  </a:solidFill>
                </a:endParaRP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8</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2598042626"/>
              </p:ext>
            </p:extLst>
          </p:nvPr>
        </p:nvGraphicFramePr>
        <p:xfrm>
          <a:off x="7473130" y="3439278"/>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6626636" y="512651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8327615" y="3211124"/>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graphicFrame>
        <p:nvGraphicFramePr>
          <p:cNvPr id="18" name="Chart 17">
            <a:extLst>
              <a:ext uri="{FF2B5EF4-FFF2-40B4-BE49-F238E27FC236}">
                <a16:creationId xmlns:a16="http://schemas.microsoft.com/office/drawing/2014/main" id="{80F7FB59-8985-4EDE-AC98-7E9E39E69646}"/>
              </a:ext>
            </a:extLst>
          </p:cNvPr>
          <p:cNvGraphicFramePr>
            <a:graphicFrameLocks/>
          </p:cNvGraphicFramePr>
          <p:nvPr/>
        </p:nvGraphicFramePr>
        <p:xfrm>
          <a:off x="6730179" y="1619042"/>
          <a:ext cx="4572000" cy="110490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8023123" y="403122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753F967-2AD2-4106-B410-813A7BEE17C9}"/>
              </a:ext>
            </a:extLst>
          </p:cNvPr>
          <p:cNvSpPr txBox="1"/>
          <p:nvPr/>
        </p:nvSpPr>
        <p:spPr>
          <a:xfrm>
            <a:off x="1933881" y="564460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
        <p:nvSpPr>
          <p:cNvPr id="22" name="Rectangle 21">
            <a:extLst>
              <a:ext uri="{FF2B5EF4-FFF2-40B4-BE49-F238E27FC236}">
                <a16:creationId xmlns:a16="http://schemas.microsoft.com/office/drawing/2014/main" id="{FD6847D7-ADBC-45C9-8F36-BB5F0B027775}"/>
              </a:ext>
            </a:extLst>
          </p:cNvPr>
          <p:cNvSpPr/>
          <p:nvPr/>
        </p:nvSpPr>
        <p:spPr>
          <a:xfrm>
            <a:off x="255640" y="4498571"/>
            <a:ext cx="4267200" cy="1508940"/>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cxnSp>
        <p:nvCxnSpPr>
          <p:cNvPr id="24" name="Straight Arrow Connector 23">
            <a:extLst>
              <a:ext uri="{FF2B5EF4-FFF2-40B4-BE49-F238E27FC236}">
                <a16:creationId xmlns:a16="http://schemas.microsoft.com/office/drawing/2014/main" id="{D1B3BBD5-3095-4DEC-821D-7F3808CB52AA}"/>
              </a:ext>
            </a:extLst>
          </p:cNvPr>
          <p:cNvCxnSpPr>
            <a:cxnSpLocks/>
            <a:stCxn id="22" idx="3"/>
          </p:cNvCxnSpPr>
          <p:nvPr/>
        </p:nvCxnSpPr>
        <p:spPr>
          <a:xfrm flipV="1">
            <a:off x="4522840" y="4414684"/>
            <a:ext cx="3726425" cy="83835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0E059EB-250F-41E9-9E2E-23522F00429E}"/>
              </a:ext>
            </a:extLst>
          </p:cNvPr>
          <p:cNvSpPr txBox="1"/>
          <p:nvPr/>
        </p:nvSpPr>
        <p:spPr>
          <a:xfrm>
            <a:off x="1783940" y="455202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
        <p:nvSpPr>
          <p:cNvPr id="26" name="TextBox 25">
            <a:extLst>
              <a:ext uri="{FF2B5EF4-FFF2-40B4-BE49-F238E27FC236}">
                <a16:creationId xmlns:a16="http://schemas.microsoft.com/office/drawing/2014/main" id="{D4AF56FC-9B20-45CB-B1F1-F35F8B37ACEC}"/>
              </a:ext>
            </a:extLst>
          </p:cNvPr>
          <p:cNvSpPr txBox="1"/>
          <p:nvPr/>
        </p:nvSpPr>
        <p:spPr>
          <a:xfrm>
            <a:off x="2267871" y="4817107"/>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Tree>
    <p:extLst>
      <p:ext uri="{BB962C8B-B14F-4D97-AF65-F5344CB8AC3E}">
        <p14:creationId xmlns:p14="http://schemas.microsoft.com/office/powerpoint/2010/main" val="30895908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Exampl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		</a:t>
                </a:r>
                <a:r>
                  <a:rPr lang="en-US" sz="1400" b="1">
                    <a:solidFill>
                      <a:srgbClr val="A100FF"/>
                    </a:solidFill>
                  </a:rPr>
                  <a:t>= inf</a:t>
                </a:r>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		</a:t>
                </a:r>
                <a:r>
                  <a:rPr lang="en-US" sz="1400" b="1">
                    <a:solidFill>
                      <a:srgbClr val="A100FF"/>
                    </a:solidFill>
                  </a:rPr>
                  <a:t>= inf</a:t>
                </a:r>
                <a:endParaRPr lang="en-US" sz="1400" b="1" baseline="-25000">
                  <a:solidFill>
                    <a:srgbClr val="A100FF"/>
                  </a:solidFill>
                </a:endParaRPr>
              </a:p>
              <a:p>
                <a:pPr marL="0" indent="0">
                  <a:buNone/>
                </a:pPr>
                <a:r>
                  <a:rPr lang="en-US" sz="1400" baseline="-25000"/>
                  <a:t>													</a:t>
                </a:r>
                <a:r>
                  <a:rPr lang="en-US" sz="1400"/>
                  <a:t>D</a:t>
                </a:r>
                <a:r>
                  <a:rPr lang="en-US" sz="1400" baseline="-25000"/>
                  <a:t>i + 1, j		</a:t>
                </a:r>
                <a:r>
                  <a:rPr lang="en-US" sz="1400" b="1">
                    <a:solidFill>
                      <a:srgbClr val="A100FF"/>
                    </a:solidFill>
                  </a:rPr>
                  <a:t>= 0</a:t>
                </a:r>
                <a:endParaRPr lang="en-US" sz="1400" b="1" baseline="-25000">
                  <a:solidFill>
                    <a:srgbClr val="A100FF"/>
                  </a:solidFill>
                </a:endParaRP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19</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3571842688"/>
              </p:ext>
            </p:extLst>
          </p:nvPr>
        </p:nvGraphicFramePr>
        <p:xfrm>
          <a:off x="7473130" y="3439278"/>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6626636" y="512651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8327615" y="3211124"/>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graphicFrame>
        <p:nvGraphicFramePr>
          <p:cNvPr id="18" name="Chart 17">
            <a:extLst>
              <a:ext uri="{FF2B5EF4-FFF2-40B4-BE49-F238E27FC236}">
                <a16:creationId xmlns:a16="http://schemas.microsoft.com/office/drawing/2014/main" id="{80F7FB59-8985-4EDE-AC98-7E9E39E69646}"/>
              </a:ext>
            </a:extLst>
          </p:cNvPr>
          <p:cNvGraphicFramePr>
            <a:graphicFrameLocks/>
          </p:cNvGraphicFramePr>
          <p:nvPr/>
        </p:nvGraphicFramePr>
        <p:xfrm>
          <a:off x="6730179" y="1619042"/>
          <a:ext cx="4572000" cy="110490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8023123" y="403122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753F967-2AD2-4106-B410-813A7BEE17C9}"/>
              </a:ext>
            </a:extLst>
          </p:cNvPr>
          <p:cNvSpPr txBox="1"/>
          <p:nvPr/>
        </p:nvSpPr>
        <p:spPr>
          <a:xfrm>
            <a:off x="1933881" y="564460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
        <p:nvSpPr>
          <p:cNvPr id="25" name="TextBox 24">
            <a:extLst>
              <a:ext uri="{FF2B5EF4-FFF2-40B4-BE49-F238E27FC236}">
                <a16:creationId xmlns:a16="http://schemas.microsoft.com/office/drawing/2014/main" id="{30E059EB-250F-41E9-9E2E-23522F00429E}"/>
              </a:ext>
            </a:extLst>
          </p:cNvPr>
          <p:cNvSpPr txBox="1"/>
          <p:nvPr/>
        </p:nvSpPr>
        <p:spPr>
          <a:xfrm>
            <a:off x="1783940" y="455202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
        <p:nvSpPr>
          <p:cNvPr id="26" name="TextBox 25">
            <a:extLst>
              <a:ext uri="{FF2B5EF4-FFF2-40B4-BE49-F238E27FC236}">
                <a16:creationId xmlns:a16="http://schemas.microsoft.com/office/drawing/2014/main" id="{D4AF56FC-9B20-45CB-B1F1-F35F8B37ACEC}"/>
              </a:ext>
            </a:extLst>
          </p:cNvPr>
          <p:cNvSpPr txBox="1"/>
          <p:nvPr/>
        </p:nvSpPr>
        <p:spPr>
          <a:xfrm>
            <a:off x="2267871" y="4817107"/>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1</a:t>
            </a:r>
            <a:endParaRPr lang="en-ID" sz="1400" b="1" noProof="0">
              <a:solidFill>
                <a:srgbClr val="A100FF"/>
              </a:solidFill>
            </a:endParaRPr>
          </a:p>
        </p:txBody>
      </p: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8426245"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39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p:txBody>
          <a:bodyPr/>
          <a:lstStyle/>
          <a:p>
            <a:r>
              <a:rPr lang="en-US"/>
              <a:t>About ACCENTURE</a:t>
            </a:r>
          </a:p>
        </p:txBody>
      </p:sp>
      <p:sp>
        <p:nvSpPr>
          <p:cNvPr id="2" name="Text Placeholder 1">
            <a:extLst>
              <a:ext uri="{FF2B5EF4-FFF2-40B4-BE49-F238E27FC236}">
                <a16:creationId xmlns:a16="http://schemas.microsoft.com/office/drawing/2014/main" id="{D80B193A-C392-4007-B83A-2FCA7F238D20}"/>
              </a:ext>
            </a:extLst>
          </p:cNvPr>
          <p:cNvSpPr>
            <a:spLocks noGrp="1"/>
          </p:cNvSpPr>
          <p:nvPr>
            <p:ph type="body" sz="quarter" idx="16"/>
          </p:nvPr>
        </p:nvSpPr>
        <p:spPr/>
        <p:txBody>
          <a:bodyPr/>
          <a:lstStyle/>
          <a:p>
            <a:endParaRPr lang="en-US"/>
          </a:p>
        </p:txBody>
      </p:sp>
      <p:sp>
        <p:nvSpPr>
          <p:cNvPr id="7" name="Picture Placeholder 6" descr="Drag picture to placeholder">
            <a:extLst>
              <a:ext uri="{FF2B5EF4-FFF2-40B4-BE49-F238E27FC236}">
                <a16:creationId xmlns:a16="http://schemas.microsoft.com/office/drawing/2014/main" id="{A9B3A3EC-A074-4884-A9F7-E7FD963574C7}"/>
              </a:ext>
            </a:extLst>
          </p:cNvPr>
          <p:cNvSpPr>
            <a:spLocks noGrp="1"/>
          </p:cNvSpPr>
          <p:nvPr>
            <p:ph type="pic" sz="quarter" idx="13"/>
          </p:nvPr>
        </p:nvSpPr>
        <p:spPr/>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9"/>
          </p:nvPr>
        </p:nvSpPr>
        <p:spPr/>
        <p:txBody>
          <a:bodyPr/>
          <a:lstStyle/>
          <a:p>
            <a:fld id="{1F90F471-3972-4120-B8B3-0237DE626C35}" type="slidenum">
              <a:rPr lang="en-US" smtClean="0"/>
              <a:pPr/>
              <a:t>2</a:t>
            </a:fld>
            <a:endParaRPr lang="en-US"/>
          </a:p>
        </p:txBody>
      </p:sp>
    </p:spTree>
    <p:extLst>
      <p:ext uri="{BB962C8B-B14F-4D97-AF65-F5344CB8AC3E}">
        <p14:creationId xmlns:p14="http://schemas.microsoft.com/office/powerpoint/2010/main" val="1097598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Exampl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		</a:t>
                </a:r>
                <a:r>
                  <a:rPr lang="en-US" sz="1400" b="1">
                    <a:solidFill>
                      <a:srgbClr val="A100FF"/>
                    </a:solidFill>
                  </a:rPr>
                  <a:t>= inf</a:t>
                </a:r>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		</a:t>
                </a:r>
                <a:r>
                  <a:rPr lang="en-US" sz="1400" b="1">
                    <a:solidFill>
                      <a:srgbClr val="A100FF"/>
                    </a:solidFill>
                  </a:rPr>
                  <a:t>= inf</a:t>
                </a:r>
                <a:endParaRPr lang="en-US" sz="1400" b="1" baseline="-25000">
                  <a:solidFill>
                    <a:srgbClr val="A100FF"/>
                  </a:solidFill>
                </a:endParaRPr>
              </a:p>
              <a:p>
                <a:pPr marL="0" indent="0">
                  <a:buNone/>
                </a:pPr>
                <a:r>
                  <a:rPr lang="en-US" sz="1400" baseline="-25000"/>
                  <a:t>													</a:t>
                </a:r>
                <a:r>
                  <a:rPr lang="en-US" sz="1400"/>
                  <a:t>D</a:t>
                </a:r>
                <a:r>
                  <a:rPr lang="en-US" sz="1400" baseline="-25000"/>
                  <a:t>i + 1, j		</a:t>
                </a:r>
                <a:r>
                  <a:rPr lang="en-US" sz="1400" b="1">
                    <a:solidFill>
                      <a:srgbClr val="A100FF"/>
                    </a:solidFill>
                  </a:rPr>
                  <a:t>= 0</a:t>
                </a:r>
                <a:endParaRPr lang="en-US" sz="1400" b="1" baseline="-25000">
                  <a:solidFill>
                    <a:srgbClr val="A100FF"/>
                  </a:solidFill>
                </a:endParaRP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0</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3594982265"/>
              </p:ext>
            </p:extLst>
          </p:nvPr>
        </p:nvGraphicFramePr>
        <p:xfrm>
          <a:off x="7473130" y="3439278"/>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6626636" y="512651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8327615" y="3211124"/>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graphicFrame>
        <p:nvGraphicFramePr>
          <p:cNvPr id="18" name="Chart 17">
            <a:extLst>
              <a:ext uri="{FF2B5EF4-FFF2-40B4-BE49-F238E27FC236}">
                <a16:creationId xmlns:a16="http://schemas.microsoft.com/office/drawing/2014/main" id="{80F7FB59-8985-4EDE-AC98-7E9E39E69646}"/>
              </a:ext>
            </a:extLst>
          </p:cNvPr>
          <p:cNvGraphicFramePr>
            <a:graphicFrameLocks/>
          </p:cNvGraphicFramePr>
          <p:nvPr/>
        </p:nvGraphicFramePr>
        <p:xfrm>
          <a:off x="6730179" y="1619042"/>
          <a:ext cx="4572000" cy="110490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8023123" y="403122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753F967-2AD2-4106-B410-813A7BEE17C9}"/>
              </a:ext>
            </a:extLst>
          </p:cNvPr>
          <p:cNvSpPr txBox="1"/>
          <p:nvPr/>
        </p:nvSpPr>
        <p:spPr>
          <a:xfrm>
            <a:off x="1933881" y="564460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5</a:t>
            </a:r>
            <a:endParaRPr lang="en-ID" sz="1400" b="1" noProof="0">
              <a:solidFill>
                <a:srgbClr val="A100FF"/>
              </a:solidFill>
            </a:endParaRPr>
          </a:p>
        </p:txBody>
      </p:sp>
      <p:sp>
        <p:nvSpPr>
          <p:cNvPr id="25" name="TextBox 24">
            <a:extLst>
              <a:ext uri="{FF2B5EF4-FFF2-40B4-BE49-F238E27FC236}">
                <a16:creationId xmlns:a16="http://schemas.microsoft.com/office/drawing/2014/main" id="{30E059EB-250F-41E9-9E2E-23522F00429E}"/>
              </a:ext>
            </a:extLst>
          </p:cNvPr>
          <p:cNvSpPr txBox="1"/>
          <p:nvPr/>
        </p:nvSpPr>
        <p:spPr>
          <a:xfrm>
            <a:off x="1783940" y="455202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0</a:t>
            </a:r>
            <a:endParaRPr lang="en-ID" sz="1400" b="1" noProof="0">
              <a:solidFill>
                <a:srgbClr val="A100FF"/>
              </a:solidFill>
            </a:endParaRPr>
          </a:p>
        </p:txBody>
      </p:sp>
      <p:sp>
        <p:nvSpPr>
          <p:cNvPr id="26" name="TextBox 25">
            <a:extLst>
              <a:ext uri="{FF2B5EF4-FFF2-40B4-BE49-F238E27FC236}">
                <a16:creationId xmlns:a16="http://schemas.microsoft.com/office/drawing/2014/main" id="{D4AF56FC-9B20-45CB-B1F1-F35F8B37ACEC}"/>
              </a:ext>
            </a:extLst>
          </p:cNvPr>
          <p:cNvSpPr txBox="1"/>
          <p:nvPr/>
        </p:nvSpPr>
        <p:spPr>
          <a:xfrm>
            <a:off x="2267871" y="4817107"/>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2</a:t>
            </a:r>
            <a:endParaRPr lang="en-ID" sz="1400" b="1" noProof="0">
              <a:solidFill>
                <a:srgbClr val="A100FF"/>
              </a:solidFill>
            </a:endParaRPr>
          </a:p>
        </p:txBody>
      </p: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8426245"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43D6DC2-59E5-45A9-A77F-F3B736DE3C15}"/>
              </a:ext>
            </a:extLst>
          </p:cNvPr>
          <p:cNvCxnSpPr>
            <a:cxnSpLocks/>
          </p:cNvCxnSpPr>
          <p:nvPr/>
        </p:nvCxnSpPr>
        <p:spPr>
          <a:xfrm flipH="1">
            <a:off x="8706465"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5174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There’s an overlapping subproblem, DP to the rescue!</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		</a:t>
                </a:r>
                <a:r>
                  <a:rPr lang="en-US" sz="1400" b="1">
                    <a:solidFill>
                      <a:srgbClr val="A100FF"/>
                    </a:solidFill>
                  </a:rPr>
                  <a:t>= 0</a:t>
                </a:r>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		</a:t>
                </a:r>
                <a:r>
                  <a:rPr lang="en-US" sz="1400" b="1">
                    <a:solidFill>
                      <a:srgbClr val="A100FF"/>
                    </a:solidFill>
                  </a:rPr>
                  <a:t>= 0</a:t>
                </a:r>
                <a:endParaRPr lang="en-US" sz="1400" b="1" baseline="-25000">
                  <a:solidFill>
                    <a:srgbClr val="A100FF"/>
                  </a:solidFill>
                </a:endParaRPr>
              </a:p>
              <a:p>
                <a:pPr marL="0" indent="0">
                  <a:buNone/>
                </a:pPr>
                <a:r>
                  <a:rPr lang="en-US" sz="1400" baseline="-25000"/>
                  <a:t>													</a:t>
                </a:r>
                <a:r>
                  <a:rPr lang="en-US" sz="1400"/>
                  <a:t>D</a:t>
                </a:r>
                <a:r>
                  <a:rPr lang="en-US" sz="1400" baseline="-25000"/>
                  <a:t>i + 1, j		</a:t>
                </a:r>
                <a:r>
                  <a:rPr lang="en-US" sz="1400" b="1">
                    <a:solidFill>
                      <a:srgbClr val="A100FF"/>
                    </a:solidFill>
                  </a:rPr>
                  <a:t>= 2</a:t>
                </a:r>
                <a:endParaRPr lang="en-US" sz="1400" b="1" baseline="-25000">
                  <a:solidFill>
                    <a:srgbClr val="A100FF"/>
                  </a:solidFill>
                </a:endParaRP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1</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1722566032"/>
              </p:ext>
            </p:extLst>
          </p:nvPr>
        </p:nvGraphicFramePr>
        <p:xfrm>
          <a:off x="7473130" y="3439278"/>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6626636" y="512651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8327615" y="3211124"/>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graphicFrame>
        <p:nvGraphicFramePr>
          <p:cNvPr id="18" name="Chart 17">
            <a:extLst>
              <a:ext uri="{FF2B5EF4-FFF2-40B4-BE49-F238E27FC236}">
                <a16:creationId xmlns:a16="http://schemas.microsoft.com/office/drawing/2014/main" id="{80F7FB59-8985-4EDE-AC98-7E9E39E69646}"/>
              </a:ext>
            </a:extLst>
          </p:cNvPr>
          <p:cNvGraphicFramePr>
            <a:graphicFrameLocks/>
          </p:cNvGraphicFramePr>
          <p:nvPr/>
        </p:nvGraphicFramePr>
        <p:xfrm>
          <a:off x="6730179" y="1619042"/>
          <a:ext cx="4572000" cy="110490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8023123" y="403122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753F967-2AD2-4106-B410-813A7BEE17C9}"/>
              </a:ext>
            </a:extLst>
          </p:cNvPr>
          <p:cNvSpPr txBox="1"/>
          <p:nvPr/>
        </p:nvSpPr>
        <p:spPr>
          <a:xfrm>
            <a:off x="1933881" y="564460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2</a:t>
            </a:r>
            <a:endParaRPr lang="en-ID" sz="1400" b="1" noProof="0">
              <a:solidFill>
                <a:srgbClr val="A100FF"/>
              </a:solidFill>
            </a:endParaRPr>
          </a:p>
        </p:txBody>
      </p:sp>
      <p:sp>
        <p:nvSpPr>
          <p:cNvPr id="25" name="TextBox 24">
            <a:extLst>
              <a:ext uri="{FF2B5EF4-FFF2-40B4-BE49-F238E27FC236}">
                <a16:creationId xmlns:a16="http://schemas.microsoft.com/office/drawing/2014/main" id="{30E059EB-250F-41E9-9E2E-23522F00429E}"/>
              </a:ext>
            </a:extLst>
          </p:cNvPr>
          <p:cNvSpPr txBox="1"/>
          <p:nvPr/>
        </p:nvSpPr>
        <p:spPr>
          <a:xfrm>
            <a:off x="1783940" y="4552028"/>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1</a:t>
            </a:r>
            <a:endParaRPr lang="en-ID" sz="1400" b="1" noProof="0">
              <a:solidFill>
                <a:srgbClr val="A100FF"/>
              </a:solidFill>
            </a:endParaRPr>
          </a:p>
        </p:txBody>
      </p:sp>
      <p:sp>
        <p:nvSpPr>
          <p:cNvPr id="26" name="TextBox 25">
            <a:extLst>
              <a:ext uri="{FF2B5EF4-FFF2-40B4-BE49-F238E27FC236}">
                <a16:creationId xmlns:a16="http://schemas.microsoft.com/office/drawing/2014/main" id="{D4AF56FC-9B20-45CB-B1F1-F35F8B37ACEC}"/>
              </a:ext>
            </a:extLst>
          </p:cNvPr>
          <p:cNvSpPr txBox="1"/>
          <p:nvPr/>
        </p:nvSpPr>
        <p:spPr>
          <a:xfrm>
            <a:off x="2267871" y="4817107"/>
            <a:ext cx="667980" cy="176089"/>
          </a:xfrm>
          <a:prstGeom prst="rect">
            <a:avLst/>
          </a:prstGeom>
          <a:noFill/>
          <a:ln>
            <a:noFill/>
          </a:ln>
        </p:spPr>
        <p:txBody>
          <a:bodyPr wrap="none" lIns="0" tIns="0" rIns="0" bIns="0" rtlCol="0">
            <a:noAutofit/>
          </a:bodyPr>
          <a:lstStyle/>
          <a:p>
            <a:pPr algn="ctr" defTabSz="228600">
              <a:spcAft>
                <a:spcPts val="1200"/>
              </a:spcAft>
            </a:pPr>
            <a:r>
              <a:rPr lang="en-US" sz="1400" b="1" noProof="0">
                <a:solidFill>
                  <a:srgbClr val="A100FF"/>
                </a:solidFill>
              </a:rPr>
              <a:t>= 1</a:t>
            </a:r>
            <a:endParaRPr lang="en-ID" sz="1400" b="1" noProof="0">
              <a:solidFill>
                <a:srgbClr val="A100FF"/>
              </a:solidFill>
            </a:endParaRPr>
          </a:p>
        </p:txBody>
      </p: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8426245"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43D6DC2-59E5-45A9-A77F-F3B736DE3C15}"/>
              </a:ext>
            </a:extLst>
          </p:cNvPr>
          <p:cNvCxnSpPr>
            <a:cxnSpLocks/>
          </p:cNvCxnSpPr>
          <p:nvPr/>
        </p:nvCxnSpPr>
        <p:spPr>
          <a:xfrm flipH="1">
            <a:off x="8706465"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EDE651D-75C7-4801-8254-391DEED531F5}"/>
              </a:ext>
            </a:extLst>
          </p:cNvPr>
          <p:cNvCxnSpPr>
            <a:cxnSpLocks/>
          </p:cNvCxnSpPr>
          <p:nvPr/>
        </p:nvCxnSpPr>
        <p:spPr>
          <a:xfrm flipH="1">
            <a:off x="9104672"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990D752-7E46-4078-9E3C-7D1DFF0C7635}"/>
              </a:ext>
            </a:extLst>
          </p:cNvPr>
          <p:cNvCxnSpPr>
            <a:cxnSpLocks/>
          </p:cNvCxnSpPr>
          <p:nvPr/>
        </p:nvCxnSpPr>
        <p:spPr>
          <a:xfrm flipH="1">
            <a:off x="9453717"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6A1C7C5-65E5-46F2-96F1-824AE658DEFE}"/>
              </a:ext>
            </a:extLst>
          </p:cNvPr>
          <p:cNvCxnSpPr>
            <a:cxnSpLocks/>
          </p:cNvCxnSpPr>
          <p:nvPr/>
        </p:nvCxnSpPr>
        <p:spPr>
          <a:xfrm flipH="1">
            <a:off x="9778182"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33FEEFF-6CEE-4AAA-A4F7-D42FF735D8F4}"/>
              </a:ext>
            </a:extLst>
          </p:cNvPr>
          <p:cNvCxnSpPr>
            <a:cxnSpLocks/>
          </p:cNvCxnSpPr>
          <p:nvPr/>
        </p:nvCxnSpPr>
        <p:spPr>
          <a:xfrm flipH="1">
            <a:off x="10127227" y="43655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CEA6CC8-F01C-4388-B9CA-E1D415C675F7}"/>
              </a:ext>
            </a:extLst>
          </p:cNvPr>
          <p:cNvCxnSpPr>
            <a:cxnSpLocks/>
          </p:cNvCxnSpPr>
          <p:nvPr/>
        </p:nvCxnSpPr>
        <p:spPr>
          <a:xfrm flipV="1">
            <a:off x="8327615" y="444418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876CAAC-A5DA-46D1-B06E-839FAC5DE9A3}"/>
              </a:ext>
            </a:extLst>
          </p:cNvPr>
          <p:cNvCxnSpPr>
            <a:cxnSpLocks/>
          </p:cNvCxnSpPr>
          <p:nvPr/>
        </p:nvCxnSpPr>
        <p:spPr>
          <a:xfrm flipV="1">
            <a:off x="8656995" y="4443873"/>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92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Finding Warp Path</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2</a:t>
            </a:fld>
            <a:endParaRPr lang="en-US"/>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203387944"/>
              </p:ext>
            </p:extLst>
          </p:nvPr>
        </p:nvGraphicFramePr>
        <p:xfrm>
          <a:off x="4041673" y="204929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5</a:t>
                      </a:r>
                      <a:endParaRPr lang="en-ID" sz="1100" b="0" i="0" u="none" strike="noStrike">
                        <a:solidFill>
                          <a:srgbClr val="000000"/>
                        </a:solidFill>
                        <a:effectLst/>
                        <a:latin typeface="Graphik" panose="020B0503030202060203"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1</a:t>
                      </a:r>
                      <a:r>
                        <a:rPr lang="en-ID" sz="1100" b="0" i="0" u="none" strike="noStrike">
                          <a:solidFill>
                            <a:srgbClr val="000000"/>
                          </a:solidFill>
                          <a:effectLst/>
                          <a:latin typeface="Graphik" panose="020B0503030202060203"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3195179" y="373653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4896158" y="182114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4591666" y="264124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4994788"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43D6DC2-59E5-45A9-A77F-F3B736DE3C15}"/>
              </a:ext>
            </a:extLst>
          </p:cNvPr>
          <p:cNvCxnSpPr>
            <a:cxnSpLocks/>
          </p:cNvCxnSpPr>
          <p:nvPr/>
        </p:nvCxnSpPr>
        <p:spPr>
          <a:xfrm flipH="1">
            <a:off x="5275008"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EDE651D-75C7-4801-8254-391DEED531F5}"/>
              </a:ext>
            </a:extLst>
          </p:cNvPr>
          <p:cNvCxnSpPr>
            <a:cxnSpLocks/>
          </p:cNvCxnSpPr>
          <p:nvPr/>
        </p:nvCxnSpPr>
        <p:spPr>
          <a:xfrm flipH="1">
            <a:off x="5673215"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990D752-7E46-4078-9E3C-7D1DFF0C7635}"/>
              </a:ext>
            </a:extLst>
          </p:cNvPr>
          <p:cNvCxnSpPr>
            <a:cxnSpLocks/>
          </p:cNvCxnSpPr>
          <p:nvPr/>
        </p:nvCxnSpPr>
        <p:spPr>
          <a:xfrm flipH="1">
            <a:off x="6022260"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6A1C7C5-65E5-46F2-96F1-824AE658DEFE}"/>
              </a:ext>
            </a:extLst>
          </p:cNvPr>
          <p:cNvCxnSpPr>
            <a:cxnSpLocks/>
          </p:cNvCxnSpPr>
          <p:nvPr/>
        </p:nvCxnSpPr>
        <p:spPr>
          <a:xfrm flipH="1">
            <a:off x="6346725"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33FEEFF-6CEE-4AAA-A4F7-D42FF735D8F4}"/>
              </a:ext>
            </a:extLst>
          </p:cNvPr>
          <p:cNvCxnSpPr>
            <a:cxnSpLocks/>
          </p:cNvCxnSpPr>
          <p:nvPr/>
        </p:nvCxnSpPr>
        <p:spPr>
          <a:xfrm flipH="1">
            <a:off x="6695770"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CEA6CC8-F01C-4388-B9CA-E1D415C675F7}"/>
              </a:ext>
            </a:extLst>
          </p:cNvPr>
          <p:cNvCxnSpPr>
            <a:cxnSpLocks/>
          </p:cNvCxnSpPr>
          <p:nvPr/>
        </p:nvCxnSpPr>
        <p:spPr>
          <a:xfrm flipV="1">
            <a:off x="4896158" y="305419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6EAC717-E0BB-4A3F-9EA0-F7675695CC83}"/>
              </a:ext>
            </a:extLst>
          </p:cNvPr>
          <p:cNvCxnSpPr>
            <a:cxnSpLocks/>
          </p:cNvCxnSpPr>
          <p:nvPr/>
        </p:nvCxnSpPr>
        <p:spPr>
          <a:xfrm flipV="1">
            <a:off x="5225538" y="3053890"/>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60A593D-F5F6-4807-A22A-5DB20E03F14E}"/>
              </a:ext>
            </a:extLst>
          </p:cNvPr>
          <p:cNvCxnSpPr>
            <a:cxnSpLocks/>
          </p:cNvCxnSpPr>
          <p:nvPr/>
        </p:nvCxnSpPr>
        <p:spPr>
          <a:xfrm flipH="1" flipV="1">
            <a:off x="5276238" y="3039447"/>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C0ECEE6-8A50-4EB0-811F-C44628FA6E13}"/>
              </a:ext>
            </a:extLst>
          </p:cNvPr>
          <p:cNvCxnSpPr>
            <a:cxnSpLocks/>
          </p:cNvCxnSpPr>
          <p:nvPr/>
        </p:nvCxnSpPr>
        <p:spPr>
          <a:xfrm flipH="1" flipV="1">
            <a:off x="5584722" y="302405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37598BB-5758-48A7-9271-05C4A514F9EA}"/>
              </a:ext>
            </a:extLst>
          </p:cNvPr>
          <p:cNvCxnSpPr>
            <a:cxnSpLocks/>
          </p:cNvCxnSpPr>
          <p:nvPr/>
        </p:nvCxnSpPr>
        <p:spPr>
          <a:xfrm flipH="1">
            <a:off x="6022260" y="3338134"/>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535224C-8B50-4684-B004-FB3679F27022}"/>
              </a:ext>
            </a:extLst>
          </p:cNvPr>
          <p:cNvCxnSpPr>
            <a:cxnSpLocks/>
          </p:cNvCxnSpPr>
          <p:nvPr/>
        </p:nvCxnSpPr>
        <p:spPr>
          <a:xfrm flipH="1">
            <a:off x="6346725" y="3341851"/>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D1DAF07-06E2-4726-8B75-EF99888E85EC}"/>
              </a:ext>
            </a:extLst>
          </p:cNvPr>
          <p:cNvCxnSpPr>
            <a:cxnSpLocks/>
          </p:cNvCxnSpPr>
          <p:nvPr/>
        </p:nvCxnSpPr>
        <p:spPr>
          <a:xfrm flipH="1">
            <a:off x="6695770" y="3338134"/>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363791B-1D3C-4D58-BB96-2B588B67393B}"/>
              </a:ext>
            </a:extLst>
          </p:cNvPr>
          <p:cNvCxnSpPr>
            <a:cxnSpLocks/>
          </p:cNvCxnSpPr>
          <p:nvPr/>
        </p:nvCxnSpPr>
        <p:spPr>
          <a:xfrm flipV="1">
            <a:off x="4896158"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DC973D3-549A-4E77-8303-9A55025BC4DB}"/>
              </a:ext>
            </a:extLst>
          </p:cNvPr>
          <p:cNvCxnSpPr>
            <a:cxnSpLocks/>
          </p:cNvCxnSpPr>
          <p:nvPr/>
        </p:nvCxnSpPr>
        <p:spPr>
          <a:xfrm flipH="1">
            <a:off x="4994788" y="3708042"/>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9F96511-8268-4E76-A061-4B1D43D7C704}"/>
              </a:ext>
            </a:extLst>
          </p:cNvPr>
          <p:cNvCxnSpPr>
            <a:cxnSpLocks/>
          </p:cNvCxnSpPr>
          <p:nvPr/>
        </p:nvCxnSpPr>
        <p:spPr>
          <a:xfrm flipV="1">
            <a:off x="5584722"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4EF9833-1249-4254-9AF5-149BC03DBDF5}"/>
              </a:ext>
            </a:extLst>
          </p:cNvPr>
          <p:cNvCxnSpPr>
            <a:cxnSpLocks/>
          </p:cNvCxnSpPr>
          <p:nvPr/>
        </p:nvCxnSpPr>
        <p:spPr>
          <a:xfrm flipV="1">
            <a:off x="5933767"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52A9C4-73B7-4BE4-8AD8-2225F9DCFBD3}"/>
              </a:ext>
            </a:extLst>
          </p:cNvPr>
          <p:cNvCxnSpPr>
            <a:cxnSpLocks/>
          </p:cNvCxnSpPr>
          <p:nvPr/>
        </p:nvCxnSpPr>
        <p:spPr>
          <a:xfrm flipH="1" flipV="1">
            <a:off x="5984466" y="338451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4BE4661-B3DB-4D85-9983-8F724E70EF1D}"/>
              </a:ext>
            </a:extLst>
          </p:cNvPr>
          <p:cNvCxnSpPr>
            <a:cxnSpLocks/>
          </p:cNvCxnSpPr>
          <p:nvPr/>
        </p:nvCxnSpPr>
        <p:spPr>
          <a:xfrm flipH="1">
            <a:off x="6351641" y="3698209"/>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B274F13-5C52-4FFF-A27D-4EABBED3F3D7}"/>
              </a:ext>
            </a:extLst>
          </p:cNvPr>
          <p:cNvCxnSpPr>
            <a:cxnSpLocks/>
          </p:cNvCxnSpPr>
          <p:nvPr/>
        </p:nvCxnSpPr>
        <p:spPr>
          <a:xfrm flipH="1">
            <a:off x="6695770" y="3698209"/>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8BD32A8-2777-4737-AC7F-C5FE19747113}"/>
              </a:ext>
            </a:extLst>
          </p:cNvPr>
          <p:cNvCxnSpPr>
            <a:cxnSpLocks/>
          </p:cNvCxnSpPr>
          <p:nvPr/>
        </p:nvCxnSpPr>
        <p:spPr>
          <a:xfrm flipV="1">
            <a:off x="4900767" y="377195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658525C6-FC82-427D-9E9B-24DA029FFDE0}"/>
              </a:ext>
            </a:extLst>
          </p:cNvPr>
          <p:cNvCxnSpPr>
            <a:cxnSpLocks/>
          </p:cNvCxnSpPr>
          <p:nvPr/>
        </p:nvCxnSpPr>
        <p:spPr>
          <a:xfrm flipV="1">
            <a:off x="5225538" y="3776865"/>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7B21D65-2947-4F0D-8534-7911E4B6C69C}"/>
              </a:ext>
            </a:extLst>
          </p:cNvPr>
          <p:cNvCxnSpPr>
            <a:cxnSpLocks/>
          </p:cNvCxnSpPr>
          <p:nvPr/>
        </p:nvCxnSpPr>
        <p:spPr>
          <a:xfrm flipV="1">
            <a:off x="5584722" y="377195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A6F7632-ABCE-4CC6-BBE6-19143554C032}"/>
              </a:ext>
            </a:extLst>
          </p:cNvPr>
          <p:cNvCxnSpPr>
            <a:cxnSpLocks/>
          </p:cNvCxnSpPr>
          <p:nvPr/>
        </p:nvCxnSpPr>
        <p:spPr>
          <a:xfrm flipH="1" flipV="1">
            <a:off x="5646791" y="3739391"/>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329738C-C55D-46E8-AC70-641786F35C22}"/>
              </a:ext>
            </a:extLst>
          </p:cNvPr>
          <p:cNvCxnSpPr>
            <a:cxnSpLocks/>
          </p:cNvCxnSpPr>
          <p:nvPr/>
        </p:nvCxnSpPr>
        <p:spPr>
          <a:xfrm flipV="1">
            <a:off x="6273287" y="3768887"/>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C9B1258-1DFF-4BD0-B742-20CCE57CAC9D}"/>
              </a:ext>
            </a:extLst>
          </p:cNvPr>
          <p:cNvCxnSpPr>
            <a:cxnSpLocks/>
          </p:cNvCxnSpPr>
          <p:nvPr/>
        </p:nvCxnSpPr>
        <p:spPr>
          <a:xfrm flipH="1" flipV="1">
            <a:off x="6346725" y="377874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7F5C0F4-32D7-4695-AA74-3261E98F8C67}"/>
              </a:ext>
            </a:extLst>
          </p:cNvPr>
          <p:cNvCxnSpPr>
            <a:cxnSpLocks/>
          </p:cNvCxnSpPr>
          <p:nvPr/>
        </p:nvCxnSpPr>
        <p:spPr>
          <a:xfrm flipH="1">
            <a:off x="6695770" y="4054045"/>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4330584-DDFF-4049-99AF-8D2AA43B6437}"/>
              </a:ext>
            </a:extLst>
          </p:cNvPr>
          <p:cNvCxnSpPr>
            <a:cxnSpLocks/>
          </p:cNvCxnSpPr>
          <p:nvPr/>
        </p:nvCxnSpPr>
        <p:spPr>
          <a:xfrm flipV="1">
            <a:off x="4896158" y="4140662"/>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E19DEAF8-55D1-4D7E-9B22-7DFE9277B614}"/>
              </a:ext>
            </a:extLst>
          </p:cNvPr>
          <p:cNvCxnSpPr>
            <a:cxnSpLocks/>
          </p:cNvCxnSpPr>
          <p:nvPr/>
        </p:nvCxnSpPr>
        <p:spPr>
          <a:xfrm flipH="1">
            <a:off x="4989871" y="4420882"/>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6A10C611-0767-4E40-A2A6-79864EA9BDB3}"/>
              </a:ext>
            </a:extLst>
          </p:cNvPr>
          <p:cNvCxnSpPr>
            <a:cxnSpLocks/>
          </p:cNvCxnSpPr>
          <p:nvPr/>
        </p:nvCxnSpPr>
        <p:spPr>
          <a:xfrm flipV="1">
            <a:off x="5584722" y="4140662"/>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B3DB26A-955F-4D9E-90B5-C351CC7B71AC}"/>
              </a:ext>
            </a:extLst>
          </p:cNvPr>
          <p:cNvCxnSpPr>
            <a:cxnSpLocks/>
          </p:cNvCxnSpPr>
          <p:nvPr/>
        </p:nvCxnSpPr>
        <p:spPr>
          <a:xfrm flipH="1" flipV="1">
            <a:off x="5678129" y="411790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B5F14D0-C835-4212-9555-48708E77D300}"/>
              </a:ext>
            </a:extLst>
          </p:cNvPr>
          <p:cNvCxnSpPr>
            <a:cxnSpLocks/>
          </p:cNvCxnSpPr>
          <p:nvPr/>
        </p:nvCxnSpPr>
        <p:spPr>
          <a:xfrm flipV="1">
            <a:off x="6263455" y="4137570"/>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4036238-4392-422D-944D-0420CBCF3234}"/>
              </a:ext>
            </a:extLst>
          </p:cNvPr>
          <p:cNvCxnSpPr>
            <a:cxnSpLocks/>
          </p:cNvCxnSpPr>
          <p:nvPr/>
        </p:nvCxnSpPr>
        <p:spPr>
          <a:xfrm flipV="1">
            <a:off x="6597753" y="4134477"/>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C2006B2-2DBC-4A40-AD84-1C80FF7D9405}"/>
              </a:ext>
            </a:extLst>
          </p:cNvPr>
          <p:cNvCxnSpPr>
            <a:cxnSpLocks/>
          </p:cNvCxnSpPr>
          <p:nvPr/>
        </p:nvCxnSpPr>
        <p:spPr>
          <a:xfrm flipH="1" flipV="1">
            <a:off x="6685847" y="412680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25441CD-4234-4DA4-979A-007D02BE9EFC}"/>
              </a:ext>
            </a:extLst>
          </p:cNvPr>
          <p:cNvCxnSpPr>
            <a:cxnSpLocks/>
          </p:cNvCxnSpPr>
          <p:nvPr/>
        </p:nvCxnSpPr>
        <p:spPr>
          <a:xfrm flipV="1">
            <a:off x="4896158" y="4499844"/>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7969F54-0926-4E4D-BD8D-D1345A013552}"/>
              </a:ext>
            </a:extLst>
          </p:cNvPr>
          <p:cNvCxnSpPr>
            <a:cxnSpLocks/>
          </p:cNvCxnSpPr>
          <p:nvPr/>
        </p:nvCxnSpPr>
        <p:spPr>
          <a:xfrm flipH="1">
            <a:off x="4999702" y="47994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0BC699A-DDE2-4993-A797-4F07232D4E2A}"/>
              </a:ext>
            </a:extLst>
          </p:cNvPr>
          <p:cNvCxnSpPr>
            <a:cxnSpLocks/>
          </p:cNvCxnSpPr>
          <p:nvPr/>
        </p:nvCxnSpPr>
        <p:spPr>
          <a:xfrm flipH="1">
            <a:off x="5275007" y="47994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CC0179DB-642E-4794-80F6-978A57D50F05}"/>
              </a:ext>
            </a:extLst>
          </p:cNvPr>
          <p:cNvCxnSpPr>
            <a:cxnSpLocks/>
          </p:cNvCxnSpPr>
          <p:nvPr/>
        </p:nvCxnSpPr>
        <p:spPr>
          <a:xfrm flipH="1" flipV="1">
            <a:off x="5646791" y="447034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2DE0BF2-06C3-4C05-90B4-78475DE2A35D}"/>
              </a:ext>
            </a:extLst>
          </p:cNvPr>
          <p:cNvCxnSpPr>
            <a:cxnSpLocks/>
          </p:cNvCxnSpPr>
          <p:nvPr/>
        </p:nvCxnSpPr>
        <p:spPr>
          <a:xfrm flipV="1">
            <a:off x="6258844" y="4499842"/>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FA2DB40-A8F9-4453-A1F3-DB957218555C}"/>
              </a:ext>
            </a:extLst>
          </p:cNvPr>
          <p:cNvCxnSpPr>
            <a:cxnSpLocks/>
          </p:cNvCxnSpPr>
          <p:nvPr/>
        </p:nvCxnSpPr>
        <p:spPr>
          <a:xfrm flipH="1">
            <a:off x="6336892" y="47994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D8B671B-CAF0-4806-8ED8-68390B051ED7}"/>
              </a:ext>
            </a:extLst>
          </p:cNvPr>
          <p:cNvCxnSpPr>
            <a:cxnSpLocks/>
          </p:cNvCxnSpPr>
          <p:nvPr/>
        </p:nvCxnSpPr>
        <p:spPr>
          <a:xfrm flipV="1">
            <a:off x="6956322" y="449984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85B5269-315B-4B8B-AF6B-65C54365C8A5}"/>
              </a:ext>
            </a:extLst>
          </p:cNvPr>
          <p:cNvSpPr/>
          <p:nvPr/>
        </p:nvSpPr>
        <p:spPr>
          <a:xfrm>
            <a:off x="7472517" y="4449149"/>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Find the warp path with optimal distance that starts from here</a:t>
            </a:r>
            <a:endParaRPr lang="en-ID" sz="1000" noProof="0">
              <a:solidFill>
                <a:schemeClr val="tx1"/>
              </a:solidFill>
            </a:endParaRPr>
          </a:p>
        </p:txBody>
      </p:sp>
      <p:sp>
        <p:nvSpPr>
          <p:cNvPr id="65" name="Rectangle 64">
            <a:extLst>
              <a:ext uri="{FF2B5EF4-FFF2-40B4-BE49-F238E27FC236}">
                <a16:creationId xmlns:a16="http://schemas.microsoft.com/office/drawing/2014/main" id="{3FEB6231-BFFC-4B19-B877-89A761CDFCAE}"/>
              </a:ext>
            </a:extLst>
          </p:cNvPr>
          <p:cNvSpPr/>
          <p:nvPr/>
        </p:nvSpPr>
        <p:spPr>
          <a:xfrm>
            <a:off x="2674989" y="2042673"/>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And always end here</a:t>
            </a:r>
            <a:endParaRPr lang="en-ID" sz="1000" noProof="0">
              <a:solidFill>
                <a:schemeClr val="tx1"/>
              </a:solidFill>
            </a:endParaRPr>
          </a:p>
        </p:txBody>
      </p:sp>
      <p:cxnSp>
        <p:nvCxnSpPr>
          <p:cNvPr id="67" name="Straight Arrow Connector 66">
            <a:extLst>
              <a:ext uri="{FF2B5EF4-FFF2-40B4-BE49-F238E27FC236}">
                <a16:creationId xmlns:a16="http://schemas.microsoft.com/office/drawing/2014/main" id="{B8007498-EF9B-4E69-A021-28D27EBD3EDF}"/>
              </a:ext>
            </a:extLst>
          </p:cNvPr>
          <p:cNvCxnSpPr>
            <a:stCxn id="65" idx="3"/>
          </p:cNvCxnSpPr>
          <p:nvPr/>
        </p:nvCxnSpPr>
        <p:spPr>
          <a:xfrm>
            <a:off x="4041673" y="2392947"/>
            <a:ext cx="343514" cy="2482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FED50D4-28A4-43A1-9CD8-5A3066603E0B}"/>
              </a:ext>
            </a:extLst>
          </p:cNvPr>
          <p:cNvCxnSpPr>
            <a:stCxn id="11" idx="1"/>
          </p:cNvCxnSpPr>
          <p:nvPr/>
        </p:nvCxnSpPr>
        <p:spPr>
          <a:xfrm flipH="1">
            <a:off x="7127773" y="4799423"/>
            <a:ext cx="344744"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3330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Finding Warp Path</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3</a:t>
            </a:fld>
            <a:endParaRPr lang="en-US"/>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2002139955"/>
              </p:ext>
            </p:extLst>
          </p:nvPr>
        </p:nvGraphicFramePr>
        <p:xfrm>
          <a:off x="4041673" y="204929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5</a:t>
                      </a:r>
                      <a:endParaRPr lang="en-ID" sz="1100" b="0" i="0" u="none" strike="noStrike">
                        <a:solidFill>
                          <a:srgbClr val="000000"/>
                        </a:solidFill>
                        <a:effectLst/>
                        <a:latin typeface="Graphik" panose="020B0503030202060203"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1</a:t>
                      </a:r>
                      <a:r>
                        <a:rPr lang="en-ID" sz="1100" b="0" i="0" u="none" strike="noStrike">
                          <a:solidFill>
                            <a:srgbClr val="000000"/>
                          </a:solidFill>
                          <a:effectLst/>
                          <a:latin typeface="Graphik" panose="020B0503030202060203"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3195179" y="373653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4896158" y="182114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4591666" y="2641243"/>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4994788"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43D6DC2-59E5-45A9-A77F-F3B736DE3C15}"/>
              </a:ext>
            </a:extLst>
          </p:cNvPr>
          <p:cNvCxnSpPr>
            <a:cxnSpLocks/>
          </p:cNvCxnSpPr>
          <p:nvPr/>
        </p:nvCxnSpPr>
        <p:spPr>
          <a:xfrm flipH="1">
            <a:off x="5275008"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EDE651D-75C7-4801-8254-391DEED531F5}"/>
              </a:ext>
            </a:extLst>
          </p:cNvPr>
          <p:cNvCxnSpPr>
            <a:cxnSpLocks/>
          </p:cNvCxnSpPr>
          <p:nvPr/>
        </p:nvCxnSpPr>
        <p:spPr>
          <a:xfrm flipH="1">
            <a:off x="567321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990D752-7E46-4078-9E3C-7D1DFF0C7635}"/>
              </a:ext>
            </a:extLst>
          </p:cNvPr>
          <p:cNvCxnSpPr>
            <a:cxnSpLocks/>
          </p:cNvCxnSpPr>
          <p:nvPr/>
        </p:nvCxnSpPr>
        <p:spPr>
          <a:xfrm flipH="1">
            <a:off x="602226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6A1C7C5-65E5-46F2-96F1-824AE658DEFE}"/>
              </a:ext>
            </a:extLst>
          </p:cNvPr>
          <p:cNvCxnSpPr>
            <a:cxnSpLocks/>
          </p:cNvCxnSpPr>
          <p:nvPr/>
        </p:nvCxnSpPr>
        <p:spPr>
          <a:xfrm flipH="1">
            <a:off x="634672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33FEEFF-6CEE-4AAA-A4F7-D42FF735D8F4}"/>
              </a:ext>
            </a:extLst>
          </p:cNvPr>
          <p:cNvCxnSpPr>
            <a:cxnSpLocks/>
          </p:cNvCxnSpPr>
          <p:nvPr/>
        </p:nvCxnSpPr>
        <p:spPr>
          <a:xfrm flipH="1">
            <a:off x="669577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CEA6CC8-F01C-4388-B9CA-E1D415C675F7}"/>
              </a:ext>
            </a:extLst>
          </p:cNvPr>
          <p:cNvCxnSpPr>
            <a:cxnSpLocks/>
          </p:cNvCxnSpPr>
          <p:nvPr/>
        </p:nvCxnSpPr>
        <p:spPr>
          <a:xfrm flipV="1">
            <a:off x="4896158" y="305419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6EAC717-E0BB-4A3F-9EA0-F7675695CC83}"/>
              </a:ext>
            </a:extLst>
          </p:cNvPr>
          <p:cNvCxnSpPr>
            <a:cxnSpLocks/>
          </p:cNvCxnSpPr>
          <p:nvPr/>
        </p:nvCxnSpPr>
        <p:spPr>
          <a:xfrm flipV="1">
            <a:off x="5225538" y="305389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60A593D-F5F6-4807-A22A-5DB20E03F14E}"/>
              </a:ext>
            </a:extLst>
          </p:cNvPr>
          <p:cNvCxnSpPr>
            <a:cxnSpLocks/>
          </p:cNvCxnSpPr>
          <p:nvPr/>
        </p:nvCxnSpPr>
        <p:spPr>
          <a:xfrm flipH="1" flipV="1">
            <a:off x="5276238" y="3039447"/>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C0ECEE6-8A50-4EB0-811F-C44628FA6E13}"/>
              </a:ext>
            </a:extLst>
          </p:cNvPr>
          <p:cNvCxnSpPr>
            <a:cxnSpLocks/>
          </p:cNvCxnSpPr>
          <p:nvPr/>
        </p:nvCxnSpPr>
        <p:spPr>
          <a:xfrm flipH="1" flipV="1">
            <a:off x="5584722" y="3024055"/>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37598BB-5758-48A7-9271-05C4A514F9EA}"/>
              </a:ext>
            </a:extLst>
          </p:cNvPr>
          <p:cNvCxnSpPr>
            <a:cxnSpLocks/>
          </p:cNvCxnSpPr>
          <p:nvPr/>
        </p:nvCxnSpPr>
        <p:spPr>
          <a:xfrm flipH="1">
            <a:off x="602226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535224C-8B50-4684-B004-FB3679F27022}"/>
              </a:ext>
            </a:extLst>
          </p:cNvPr>
          <p:cNvCxnSpPr>
            <a:cxnSpLocks/>
          </p:cNvCxnSpPr>
          <p:nvPr/>
        </p:nvCxnSpPr>
        <p:spPr>
          <a:xfrm flipH="1">
            <a:off x="6346725" y="3341851"/>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D1DAF07-06E2-4726-8B75-EF99888E85EC}"/>
              </a:ext>
            </a:extLst>
          </p:cNvPr>
          <p:cNvCxnSpPr>
            <a:cxnSpLocks/>
          </p:cNvCxnSpPr>
          <p:nvPr/>
        </p:nvCxnSpPr>
        <p:spPr>
          <a:xfrm flipH="1">
            <a:off x="669577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7363791B-1D3C-4D58-BB96-2B588B67393B}"/>
              </a:ext>
            </a:extLst>
          </p:cNvPr>
          <p:cNvCxnSpPr>
            <a:cxnSpLocks/>
          </p:cNvCxnSpPr>
          <p:nvPr/>
        </p:nvCxnSpPr>
        <p:spPr>
          <a:xfrm flipV="1">
            <a:off x="4896158"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EDC973D3-549A-4E77-8303-9A55025BC4DB}"/>
              </a:ext>
            </a:extLst>
          </p:cNvPr>
          <p:cNvCxnSpPr>
            <a:cxnSpLocks/>
          </p:cNvCxnSpPr>
          <p:nvPr/>
        </p:nvCxnSpPr>
        <p:spPr>
          <a:xfrm flipH="1">
            <a:off x="4994788" y="370804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9F96511-8268-4E76-A061-4B1D43D7C704}"/>
              </a:ext>
            </a:extLst>
          </p:cNvPr>
          <p:cNvCxnSpPr>
            <a:cxnSpLocks/>
          </p:cNvCxnSpPr>
          <p:nvPr/>
        </p:nvCxnSpPr>
        <p:spPr>
          <a:xfrm flipV="1">
            <a:off x="5584722"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4EF9833-1249-4254-9AF5-149BC03DBDF5}"/>
              </a:ext>
            </a:extLst>
          </p:cNvPr>
          <p:cNvCxnSpPr>
            <a:cxnSpLocks/>
          </p:cNvCxnSpPr>
          <p:nvPr/>
        </p:nvCxnSpPr>
        <p:spPr>
          <a:xfrm flipV="1">
            <a:off x="5933767"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52A9C4-73B7-4BE4-8AD8-2225F9DCFBD3}"/>
              </a:ext>
            </a:extLst>
          </p:cNvPr>
          <p:cNvCxnSpPr>
            <a:cxnSpLocks/>
          </p:cNvCxnSpPr>
          <p:nvPr/>
        </p:nvCxnSpPr>
        <p:spPr>
          <a:xfrm flipH="1" flipV="1">
            <a:off x="5984466" y="3384515"/>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4BE4661-B3DB-4D85-9983-8F724E70EF1D}"/>
              </a:ext>
            </a:extLst>
          </p:cNvPr>
          <p:cNvCxnSpPr>
            <a:cxnSpLocks/>
          </p:cNvCxnSpPr>
          <p:nvPr/>
        </p:nvCxnSpPr>
        <p:spPr>
          <a:xfrm flipH="1">
            <a:off x="6351641"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B274F13-5C52-4FFF-A27D-4EABBED3F3D7}"/>
              </a:ext>
            </a:extLst>
          </p:cNvPr>
          <p:cNvCxnSpPr>
            <a:cxnSpLocks/>
          </p:cNvCxnSpPr>
          <p:nvPr/>
        </p:nvCxnSpPr>
        <p:spPr>
          <a:xfrm flipH="1">
            <a:off x="6695770"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8BD32A8-2777-4737-AC7F-C5FE19747113}"/>
              </a:ext>
            </a:extLst>
          </p:cNvPr>
          <p:cNvCxnSpPr>
            <a:cxnSpLocks/>
          </p:cNvCxnSpPr>
          <p:nvPr/>
        </p:nvCxnSpPr>
        <p:spPr>
          <a:xfrm flipV="1">
            <a:off x="4900767"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658525C6-FC82-427D-9E9B-24DA029FFDE0}"/>
              </a:ext>
            </a:extLst>
          </p:cNvPr>
          <p:cNvCxnSpPr>
            <a:cxnSpLocks/>
          </p:cNvCxnSpPr>
          <p:nvPr/>
        </p:nvCxnSpPr>
        <p:spPr>
          <a:xfrm flipV="1">
            <a:off x="5225538" y="3776865"/>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7B21D65-2947-4F0D-8534-7911E4B6C69C}"/>
              </a:ext>
            </a:extLst>
          </p:cNvPr>
          <p:cNvCxnSpPr>
            <a:cxnSpLocks/>
          </p:cNvCxnSpPr>
          <p:nvPr/>
        </p:nvCxnSpPr>
        <p:spPr>
          <a:xfrm flipV="1">
            <a:off x="5584722"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A6F7632-ABCE-4CC6-BBE6-19143554C032}"/>
              </a:ext>
            </a:extLst>
          </p:cNvPr>
          <p:cNvCxnSpPr>
            <a:cxnSpLocks/>
          </p:cNvCxnSpPr>
          <p:nvPr/>
        </p:nvCxnSpPr>
        <p:spPr>
          <a:xfrm flipH="1" flipV="1">
            <a:off x="5646791" y="3739391"/>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329738C-C55D-46E8-AC70-641786F35C22}"/>
              </a:ext>
            </a:extLst>
          </p:cNvPr>
          <p:cNvCxnSpPr>
            <a:cxnSpLocks/>
          </p:cNvCxnSpPr>
          <p:nvPr/>
        </p:nvCxnSpPr>
        <p:spPr>
          <a:xfrm flipV="1">
            <a:off x="6273287" y="376888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C9B1258-1DFF-4BD0-B742-20CCE57CAC9D}"/>
              </a:ext>
            </a:extLst>
          </p:cNvPr>
          <p:cNvCxnSpPr>
            <a:cxnSpLocks/>
          </p:cNvCxnSpPr>
          <p:nvPr/>
        </p:nvCxnSpPr>
        <p:spPr>
          <a:xfrm flipH="1" flipV="1">
            <a:off x="6346725" y="3778743"/>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7F5C0F4-32D7-4695-AA74-3261E98F8C67}"/>
              </a:ext>
            </a:extLst>
          </p:cNvPr>
          <p:cNvCxnSpPr>
            <a:cxnSpLocks/>
          </p:cNvCxnSpPr>
          <p:nvPr/>
        </p:nvCxnSpPr>
        <p:spPr>
          <a:xfrm flipH="1">
            <a:off x="6695770" y="4054045"/>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4330584-DDFF-4049-99AF-8D2AA43B6437}"/>
              </a:ext>
            </a:extLst>
          </p:cNvPr>
          <p:cNvCxnSpPr>
            <a:cxnSpLocks/>
          </p:cNvCxnSpPr>
          <p:nvPr/>
        </p:nvCxnSpPr>
        <p:spPr>
          <a:xfrm flipV="1">
            <a:off x="4896158"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E19DEAF8-55D1-4D7E-9B22-7DFE9277B614}"/>
              </a:ext>
            </a:extLst>
          </p:cNvPr>
          <p:cNvCxnSpPr>
            <a:cxnSpLocks/>
          </p:cNvCxnSpPr>
          <p:nvPr/>
        </p:nvCxnSpPr>
        <p:spPr>
          <a:xfrm flipH="1">
            <a:off x="4989871" y="442088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6A10C611-0767-4E40-A2A6-79864EA9BDB3}"/>
              </a:ext>
            </a:extLst>
          </p:cNvPr>
          <p:cNvCxnSpPr>
            <a:cxnSpLocks/>
          </p:cNvCxnSpPr>
          <p:nvPr/>
        </p:nvCxnSpPr>
        <p:spPr>
          <a:xfrm flipV="1">
            <a:off x="5584722"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B3DB26A-955F-4D9E-90B5-C351CC7B71AC}"/>
              </a:ext>
            </a:extLst>
          </p:cNvPr>
          <p:cNvCxnSpPr>
            <a:cxnSpLocks/>
          </p:cNvCxnSpPr>
          <p:nvPr/>
        </p:nvCxnSpPr>
        <p:spPr>
          <a:xfrm flipH="1" flipV="1">
            <a:off x="5678129" y="411790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B5F14D0-C835-4212-9555-48708E77D300}"/>
              </a:ext>
            </a:extLst>
          </p:cNvPr>
          <p:cNvCxnSpPr>
            <a:cxnSpLocks/>
          </p:cNvCxnSpPr>
          <p:nvPr/>
        </p:nvCxnSpPr>
        <p:spPr>
          <a:xfrm flipV="1">
            <a:off x="6263455" y="413757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4036238-4392-422D-944D-0420CBCF3234}"/>
              </a:ext>
            </a:extLst>
          </p:cNvPr>
          <p:cNvCxnSpPr>
            <a:cxnSpLocks/>
          </p:cNvCxnSpPr>
          <p:nvPr/>
        </p:nvCxnSpPr>
        <p:spPr>
          <a:xfrm flipV="1">
            <a:off x="6597753" y="413447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C2006B2-2DBC-4A40-AD84-1C80FF7D9405}"/>
              </a:ext>
            </a:extLst>
          </p:cNvPr>
          <p:cNvCxnSpPr>
            <a:cxnSpLocks/>
          </p:cNvCxnSpPr>
          <p:nvPr/>
        </p:nvCxnSpPr>
        <p:spPr>
          <a:xfrm flipH="1" flipV="1">
            <a:off x="6685847" y="4126805"/>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25441CD-4234-4DA4-979A-007D02BE9EFC}"/>
              </a:ext>
            </a:extLst>
          </p:cNvPr>
          <p:cNvCxnSpPr>
            <a:cxnSpLocks/>
          </p:cNvCxnSpPr>
          <p:nvPr/>
        </p:nvCxnSpPr>
        <p:spPr>
          <a:xfrm flipV="1">
            <a:off x="4896158" y="4499844"/>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7969F54-0926-4E4D-BD8D-D1345A013552}"/>
              </a:ext>
            </a:extLst>
          </p:cNvPr>
          <p:cNvCxnSpPr>
            <a:cxnSpLocks/>
          </p:cNvCxnSpPr>
          <p:nvPr/>
        </p:nvCxnSpPr>
        <p:spPr>
          <a:xfrm flipH="1">
            <a:off x="499970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0BC699A-DDE2-4993-A797-4F07232D4E2A}"/>
              </a:ext>
            </a:extLst>
          </p:cNvPr>
          <p:cNvCxnSpPr>
            <a:cxnSpLocks/>
          </p:cNvCxnSpPr>
          <p:nvPr/>
        </p:nvCxnSpPr>
        <p:spPr>
          <a:xfrm flipH="1">
            <a:off x="5275007"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CC0179DB-642E-4794-80F6-978A57D50F05}"/>
              </a:ext>
            </a:extLst>
          </p:cNvPr>
          <p:cNvCxnSpPr>
            <a:cxnSpLocks/>
          </p:cNvCxnSpPr>
          <p:nvPr/>
        </p:nvCxnSpPr>
        <p:spPr>
          <a:xfrm flipH="1" flipV="1">
            <a:off x="5646791" y="447034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2DE0BF2-06C3-4C05-90B4-78475DE2A35D}"/>
              </a:ext>
            </a:extLst>
          </p:cNvPr>
          <p:cNvCxnSpPr>
            <a:cxnSpLocks/>
          </p:cNvCxnSpPr>
          <p:nvPr/>
        </p:nvCxnSpPr>
        <p:spPr>
          <a:xfrm flipV="1">
            <a:off x="6258844" y="449984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FA2DB40-A8F9-4453-A1F3-DB957218555C}"/>
              </a:ext>
            </a:extLst>
          </p:cNvPr>
          <p:cNvCxnSpPr>
            <a:cxnSpLocks/>
          </p:cNvCxnSpPr>
          <p:nvPr/>
        </p:nvCxnSpPr>
        <p:spPr>
          <a:xfrm flipH="1">
            <a:off x="633689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D8B671B-CAF0-4806-8ED8-68390B051ED7}"/>
              </a:ext>
            </a:extLst>
          </p:cNvPr>
          <p:cNvCxnSpPr>
            <a:cxnSpLocks/>
          </p:cNvCxnSpPr>
          <p:nvPr/>
        </p:nvCxnSpPr>
        <p:spPr>
          <a:xfrm flipV="1">
            <a:off x="6956322" y="449984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85B5269-315B-4B8B-AF6B-65C54365C8A5}"/>
              </a:ext>
            </a:extLst>
          </p:cNvPr>
          <p:cNvSpPr/>
          <p:nvPr/>
        </p:nvSpPr>
        <p:spPr>
          <a:xfrm>
            <a:off x="7472517" y="4449149"/>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Find the warp path that starts from here</a:t>
            </a:r>
            <a:endParaRPr lang="en-ID" sz="1000" noProof="0">
              <a:solidFill>
                <a:schemeClr val="tx1"/>
              </a:solidFill>
            </a:endParaRPr>
          </a:p>
        </p:txBody>
      </p:sp>
      <p:sp>
        <p:nvSpPr>
          <p:cNvPr id="65" name="Rectangle 64">
            <a:extLst>
              <a:ext uri="{FF2B5EF4-FFF2-40B4-BE49-F238E27FC236}">
                <a16:creationId xmlns:a16="http://schemas.microsoft.com/office/drawing/2014/main" id="{3FEB6231-BFFC-4B19-B877-89A761CDFCAE}"/>
              </a:ext>
            </a:extLst>
          </p:cNvPr>
          <p:cNvSpPr/>
          <p:nvPr/>
        </p:nvSpPr>
        <p:spPr>
          <a:xfrm>
            <a:off x="2674989" y="2042673"/>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And always end here</a:t>
            </a:r>
            <a:endParaRPr lang="en-ID" sz="1000" noProof="0">
              <a:solidFill>
                <a:schemeClr val="tx1"/>
              </a:solidFill>
            </a:endParaRPr>
          </a:p>
        </p:txBody>
      </p:sp>
      <p:cxnSp>
        <p:nvCxnSpPr>
          <p:cNvPr id="67" name="Straight Arrow Connector 66">
            <a:extLst>
              <a:ext uri="{FF2B5EF4-FFF2-40B4-BE49-F238E27FC236}">
                <a16:creationId xmlns:a16="http://schemas.microsoft.com/office/drawing/2014/main" id="{B8007498-EF9B-4E69-A021-28D27EBD3EDF}"/>
              </a:ext>
            </a:extLst>
          </p:cNvPr>
          <p:cNvCxnSpPr>
            <a:stCxn id="65" idx="3"/>
          </p:cNvCxnSpPr>
          <p:nvPr/>
        </p:nvCxnSpPr>
        <p:spPr>
          <a:xfrm>
            <a:off x="4041673" y="2392947"/>
            <a:ext cx="343514" cy="2482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FED50D4-28A4-43A1-9CD8-5A3066603E0B}"/>
              </a:ext>
            </a:extLst>
          </p:cNvPr>
          <p:cNvCxnSpPr>
            <a:stCxn id="11" idx="1"/>
          </p:cNvCxnSpPr>
          <p:nvPr/>
        </p:nvCxnSpPr>
        <p:spPr>
          <a:xfrm flipH="1">
            <a:off x="7127773" y="4799423"/>
            <a:ext cx="344744"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1570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Finding Warp Path</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4</a:t>
            </a:fld>
            <a:endParaRPr lang="en-US"/>
          </a:p>
        </p:txBody>
      </p:sp>
      <p:graphicFrame>
        <p:nvGraphicFramePr>
          <p:cNvPr id="164" name="Table 163">
            <a:extLst>
              <a:ext uri="{FF2B5EF4-FFF2-40B4-BE49-F238E27FC236}">
                <a16:creationId xmlns:a16="http://schemas.microsoft.com/office/drawing/2014/main" id="{21FBC173-3E47-4C0D-BE05-60E37C1F3D84}"/>
              </a:ext>
            </a:extLst>
          </p:cNvPr>
          <p:cNvGraphicFramePr>
            <a:graphicFrameLocks noGrp="1"/>
          </p:cNvGraphicFramePr>
          <p:nvPr>
            <p:extLst>
              <p:ext uri="{D42A27DB-BD31-4B8C-83A1-F6EECF244321}">
                <p14:modId xmlns:p14="http://schemas.microsoft.com/office/powerpoint/2010/main" val="2738218439"/>
              </p:ext>
            </p:extLst>
          </p:nvPr>
        </p:nvGraphicFramePr>
        <p:xfrm>
          <a:off x="4041673" y="204929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5</a:t>
                      </a:r>
                      <a:endParaRPr lang="en-ID" sz="1100" b="0" i="0" u="none" strike="noStrike">
                        <a:solidFill>
                          <a:srgbClr val="000000"/>
                        </a:solidFill>
                        <a:effectLst/>
                        <a:latin typeface="Graphik" panose="020B0503030202060203"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1</a:t>
                      </a:r>
                      <a:r>
                        <a:rPr lang="en-ID" sz="1100" b="0" i="0" u="none" strike="noStrike">
                          <a:solidFill>
                            <a:srgbClr val="000000"/>
                          </a:solidFill>
                          <a:effectLst/>
                          <a:latin typeface="Graphik" panose="020B0503030202060203"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165" name="TextBox 164">
            <a:extLst>
              <a:ext uri="{FF2B5EF4-FFF2-40B4-BE49-F238E27FC236}">
                <a16:creationId xmlns:a16="http://schemas.microsoft.com/office/drawing/2014/main" id="{B49B9747-8CB7-4A71-8400-20796C0CFBB3}"/>
              </a:ext>
            </a:extLst>
          </p:cNvPr>
          <p:cNvSpPr txBox="1"/>
          <p:nvPr/>
        </p:nvSpPr>
        <p:spPr>
          <a:xfrm rot="16200000">
            <a:off x="3195179" y="373653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66" name="TextBox 165">
            <a:extLst>
              <a:ext uri="{FF2B5EF4-FFF2-40B4-BE49-F238E27FC236}">
                <a16:creationId xmlns:a16="http://schemas.microsoft.com/office/drawing/2014/main" id="{F7B10257-70ED-4802-919E-9C0F41652CC8}"/>
              </a:ext>
            </a:extLst>
          </p:cNvPr>
          <p:cNvSpPr txBox="1"/>
          <p:nvPr/>
        </p:nvSpPr>
        <p:spPr>
          <a:xfrm>
            <a:off x="4896158" y="182114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67" name="Straight Arrow Connector 166">
            <a:extLst>
              <a:ext uri="{FF2B5EF4-FFF2-40B4-BE49-F238E27FC236}">
                <a16:creationId xmlns:a16="http://schemas.microsoft.com/office/drawing/2014/main" id="{02737BEE-9F13-4084-BAEB-C1567C67A34F}"/>
              </a:ext>
            </a:extLst>
          </p:cNvPr>
          <p:cNvCxnSpPr>
            <a:cxnSpLocks/>
          </p:cNvCxnSpPr>
          <p:nvPr/>
        </p:nvCxnSpPr>
        <p:spPr>
          <a:xfrm flipH="1" flipV="1">
            <a:off x="4591666" y="2641243"/>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7AD6DB23-497C-4621-9843-B207FDDEBF45}"/>
              </a:ext>
            </a:extLst>
          </p:cNvPr>
          <p:cNvCxnSpPr>
            <a:cxnSpLocks/>
          </p:cNvCxnSpPr>
          <p:nvPr/>
        </p:nvCxnSpPr>
        <p:spPr>
          <a:xfrm flipH="1">
            <a:off x="4994788"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FB818935-E791-4AF7-BB6B-2A87D7017DFF}"/>
              </a:ext>
            </a:extLst>
          </p:cNvPr>
          <p:cNvCxnSpPr>
            <a:cxnSpLocks/>
          </p:cNvCxnSpPr>
          <p:nvPr/>
        </p:nvCxnSpPr>
        <p:spPr>
          <a:xfrm flipH="1">
            <a:off x="5275008"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1AE1C102-11E3-4104-81BD-37EBFF996D29}"/>
              </a:ext>
            </a:extLst>
          </p:cNvPr>
          <p:cNvCxnSpPr>
            <a:cxnSpLocks/>
          </p:cNvCxnSpPr>
          <p:nvPr/>
        </p:nvCxnSpPr>
        <p:spPr>
          <a:xfrm flipH="1">
            <a:off x="567321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7ED694E6-78FE-4F16-A2D8-02548BAB7C3C}"/>
              </a:ext>
            </a:extLst>
          </p:cNvPr>
          <p:cNvCxnSpPr>
            <a:cxnSpLocks/>
          </p:cNvCxnSpPr>
          <p:nvPr/>
        </p:nvCxnSpPr>
        <p:spPr>
          <a:xfrm flipH="1">
            <a:off x="602226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DAE02067-420D-487C-9844-D1AAA05A73B2}"/>
              </a:ext>
            </a:extLst>
          </p:cNvPr>
          <p:cNvCxnSpPr>
            <a:cxnSpLocks/>
          </p:cNvCxnSpPr>
          <p:nvPr/>
        </p:nvCxnSpPr>
        <p:spPr>
          <a:xfrm flipH="1">
            <a:off x="634672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F0B21DCA-4FE0-47F8-8A08-AB7FE36A86A0}"/>
              </a:ext>
            </a:extLst>
          </p:cNvPr>
          <p:cNvCxnSpPr>
            <a:cxnSpLocks/>
          </p:cNvCxnSpPr>
          <p:nvPr/>
        </p:nvCxnSpPr>
        <p:spPr>
          <a:xfrm flipH="1">
            <a:off x="669577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156F2EC5-7BAC-4FA2-B279-EEAFDE9A7166}"/>
              </a:ext>
            </a:extLst>
          </p:cNvPr>
          <p:cNvCxnSpPr>
            <a:cxnSpLocks/>
          </p:cNvCxnSpPr>
          <p:nvPr/>
        </p:nvCxnSpPr>
        <p:spPr>
          <a:xfrm flipV="1">
            <a:off x="4896158" y="305419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8C98B88D-50A1-4C85-8128-D5A6FF6CD167}"/>
              </a:ext>
            </a:extLst>
          </p:cNvPr>
          <p:cNvCxnSpPr>
            <a:cxnSpLocks/>
          </p:cNvCxnSpPr>
          <p:nvPr/>
        </p:nvCxnSpPr>
        <p:spPr>
          <a:xfrm flipV="1">
            <a:off x="5225538" y="305389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A14421DF-50D0-4201-9792-A312D3B03D72}"/>
              </a:ext>
            </a:extLst>
          </p:cNvPr>
          <p:cNvCxnSpPr>
            <a:cxnSpLocks/>
          </p:cNvCxnSpPr>
          <p:nvPr/>
        </p:nvCxnSpPr>
        <p:spPr>
          <a:xfrm flipH="1" flipV="1">
            <a:off x="5276238" y="3039447"/>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CDE8B844-E247-42B3-8A63-421BEF332017}"/>
              </a:ext>
            </a:extLst>
          </p:cNvPr>
          <p:cNvCxnSpPr>
            <a:cxnSpLocks/>
          </p:cNvCxnSpPr>
          <p:nvPr/>
        </p:nvCxnSpPr>
        <p:spPr>
          <a:xfrm flipH="1" flipV="1">
            <a:off x="5584722" y="3024055"/>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6A1BE728-A685-4864-9FD4-FB3CADF2481B}"/>
              </a:ext>
            </a:extLst>
          </p:cNvPr>
          <p:cNvCxnSpPr>
            <a:cxnSpLocks/>
          </p:cNvCxnSpPr>
          <p:nvPr/>
        </p:nvCxnSpPr>
        <p:spPr>
          <a:xfrm flipH="1">
            <a:off x="602226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F88540A1-068E-4BD1-9E40-A309738179F6}"/>
              </a:ext>
            </a:extLst>
          </p:cNvPr>
          <p:cNvCxnSpPr>
            <a:cxnSpLocks/>
          </p:cNvCxnSpPr>
          <p:nvPr/>
        </p:nvCxnSpPr>
        <p:spPr>
          <a:xfrm flipH="1">
            <a:off x="6346725" y="3341851"/>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95DD46ED-451E-4A22-ACF6-6E89B517F8AA}"/>
              </a:ext>
            </a:extLst>
          </p:cNvPr>
          <p:cNvCxnSpPr>
            <a:cxnSpLocks/>
          </p:cNvCxnSpPr>
          <p:nvPr/>
        </p:nvCxnSpPr>
        <p:spPr>
          <a:xfrm flipH="1">
            <a:off x="669577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3B7A1406-501F-4D89-AFF2-5EEB006C8CBC}"/>
              </a:ext>
            </a:extLst>
          </p:cNvPr>
          <p:cNvCxnSpPr>
            <a:cxnSpLocks/>
          </p:cNvCxnSpPr>
          <p:nvPr/>
        </p:nvCxnSpPr>
        <p:spPr>
          <a:xfrm flipV="1">
            <a:off x="4896158"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90A9CAF-7508-4508-B347-9D491302D3D4}"/>
              </a:ext>
            </a:extLst>
          </p:cNvPr>
          <p:cNvCxnSpPr>
            <a:cxnSpLocks/>
          </p:cNvCxnSpPr>
          <p:nvPr/>
        </p:nvCxnSpPr>
        <p:spPr>
          <a:xfrm flipH="1">
            <a:off x="4994788" y="370804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672EC67F-BF2B-48C9-8F04-1291127C6A97}"/>
              </a:ext>
            </a:extLst>
          </p:cNvPr>
          <p:cNvCxnSpPr>
            <a:cxnSpLocks/>
          </p:cNvCxnSpPr>
          <p:nvPr/>
        </p:nvCxnSpPr>
        <p:spPr>
          <a:xfrm flipV="1">
            <a:off x="5584722"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218078D0-ACAE-4422-983F-CF5FBC695B8A}"/>
              </a:ext>
            </a:extLst>
          </p:cNvPr>
          <p:cNvCxnSpPr>
            <a:cxnSpLocks/>
          </p:cNvCxnSpPr>
          <p:nvPr/>
        </p:nvCxnSpPr>
        <p:spPr>
          <a:xfrm flipV="1">
            <a:off x="5933767"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DDF16B52-B5E4-4093-B221-72340314019B}"/>
              </a:ext>
            </a:extLst>
          </p:cNvPr>
          <p:cNvCxnSpPr>
            <a:cxnSpLocks/>
          </p:cNvCxnSpPr>
          <p:nvPr/>
        </p:nvCxnSpPr>
        <p:spPr>
          <a:xfrm flipH="1" flipV="1">
            <a:off x="5984466" y="3384515"/>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57356F60-9141-4ADD-975C-F1DE0B3ACA60}"/>
              </a:ext>
            </a:extLst>
          </p:cNvPr>
          <p:cNvCxnSpPr>
            <a:cxnSpLocks/>
          </p:cNvCxnSpPr>
          <p:nvPr/>
        </p:nvCxnSpPr>
        <p:spPr>
          <a:xfrm flipH="1">
            <a:off x="6351641"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F8083048-312E-4214-BA4E-266E0419CB63}"/>
              </a:ext>
            </a:extLst>
          </p:cNvPr>
          <p:cNvCxnSpPr>
            <a:cxnSpLocks/>
          </p:cNvCxnSpPr>
          <p:nvPr/>
        </p:nvCxnSpPr>
        <p:spPr>
          <a:xfrm flipH="1">
            <a:off x="6695770"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27AC604E-A845-40DA-9E22-E9CCA8C31F86}"/>
              </a:ext>
            </a:extLst>
          </p:cNvPr>
          <p:cNvCxnSpPr>
            <a:cxnSpLocks/>
          </p:cNvCxnSpPr>
          <p:nvPr/>
        </p:nvCxnSpPr>
        <p:spPr>
          <a:xfrm flipV="1">
            <a:off x="4900767"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30D143FB-85E3-4AED-ABC0-1E4AA8276E4B}"/>
              </a:ext>
            </a:extLst>
          </p:cNvPr>
          <p:cNvCxnSpPr>
            <a:cxnSpLocks/>
          </p:cNvCxnSpPr>
          <p:nvPr/>
        </p:nvCxnSpPr>
        <p:spPr>
          <a:xfrm flipV="1">
            <a:off x="5225538" y="3776865"/>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C24A8334-B87C-40C8-9435-526C3A445A3A}"/>
              </a:ext>
            </a:extLst>
          </p:cNvPr>
          <p:cNvCxnSpPr>
            <a:cxnSpLocks/>
          </p:cNvCxnSpPr>
          <p:nvPr/>
        </p:nvCxnSpPr>
        <p:spPr>
          <a:xfrm flipV="1">
            <a:off x="5584722"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8FBA2342-1BD1-430C-9D4C-3507158ABD20}"/>
              </a:ext>
            </a:extLst>
          </p:cNvPr>
          <p:cNvCxnSpPr>
            <a:cxnSpLocks/>
          </p:cNvCxnSpPr>
          <p:nvPr/>
        </p:nvCxnSpPr>
        <p:spPr>
          <a:xfrm flipH="1" flipV="1">
            <a:off x="5646791" y="3739391"/>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98A9E96E-45B9-4425-A883-AC2587070D3D}"/>
              </a:ext>
            </a:extLst>
          </p:cNvPr>
          <p:cNvCxnSpPr>
            <a:cxnSpLocks/>
          </p:cNvCxnSpPr>
          <p:nvPr/>
        </p:nvCxnSpPr>
        <p:spPr>
          <a:xfrm flipV="1">
            <a:off x="6273287" y="376888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BD1D5752-318A-4AB5-853A-4A2A66EF6438}"/>
              </a:ext>
            </a:extLst>
          </p:cNvPr>
          <p:cNvCxnSpPr>
            <a:cxnSpLocks/>
          </p:cNvCxnSpPr>
          <p:nvPr/>
        </p:nvCxnSpPr>
        <p:spPr>
          <a:xfrm flipH="1" flipV="1">
            <a:off x="6346725" y="3778743"/>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AA926F64-24C2-4304-A83A-E910B79E5281}"/>
              </a:ext>
            </a:extLst>
          </p:cNvPr>
          <p:cNvCxnSpPr>
            <a:cxnSpLocks/>
          </p:cNvCxnSpPr>
          <p:nvPr/>
        </p:nvCxnSpPr>
        <p:spPr>
          <a:xfrm flipH="1">
            <a:off x="6695770" y="4054045"/>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CB378A5C-8CC9-479B-AA4C-B568C4D87D97}"/>
              </a:ext>
            </a:extLst>
          </p:cNvPr>
          <p:cNvCxnSpPr>
            <a:cxnSpLocks/>
          </p:cNvCxnSpPr>
          <p:nvPr/>
        </p:nvCxnSpPr>
        <p:spPr>
          <a:xfrm flipV="1">
            <a:off x="4896158"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74C7EC00-C4E8-41D8-8A55-229503584BFE}"/>
              </a:ext>
            </a:extLst>
          </p:cNvPr>
          <p:cNvCxnSpPr>
            <a:cxnSpLocks/>
          </p:cNvCxnSpPr>
          <p:nvPr/>
        </p:nvCxnSpPr>
        <p:spPr>
          <a:xfrm flipH="1">
            <a:off x="4989871" y="442088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2CBF123A-2606-4914-98C1-93BE993D369C}"/>
              </a:ext>
            </a:extLst>
          </p:cNvPr>
          <p:cNvCxnSpPr>
            <a:cxnSpLocks/>
          </p:cNvCxnSpPr>
          <p:nvPr/>
        </p:nvCxnSpPr>
        <p:spPr>
          <a:xfrm flipV="1">
            <a:off x="5584722"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305AE9D2-6049-4CAB-A9FC-29C636B9C100}"/>
              </a:ext>
            </a:extLst>
          </p:cNvPr>
          <p:cNvCxnSpPr>
            <a:cxnSpLocks/>
          </p:cNvCxnSpPr>
          <p:nvPr/>
        </p:nvCxnSpPr>
        <p:spPr>
          <a:xfrm flipH="1" flipV="1">
            <a:off x="5678129" y="411790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3FAAAC7A-D70F-41A2-AB53-E041A252185A}"/>
              </a:ext>
            </a:extLst>
          </p:cNvPr>
          <p:cNvCxnSpPr>
            <a:cxnSpLocks/>
          </p:cNvCxnSpPr>
          <p:nvPr/>
        </p:nvCxnSpPr>
        <p:spPr>
          <a:xfrm flipV="1">
            <a:off x="6263455" y="413757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0F9EA406-999A-4F1E-B54E-771A89EDAAA7}"/>
              </a:ext>
            </a:extLst>
          </p:cNvPr>
          <p:cNvCxnSpPr>
            <a:cxnSpLocks/>
          </p:cNvCxnSpPr>
          <p:nvPr/>
        </p:nvCxnSpPr>
        <p:spPr>
          <a:xfrm flipV="1">
            <a:off x="6597753" y="413447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84C686A6-9357-44DA-BC7B-67E0690D2BE8}"/>
              </a:ext>
            </a:extLst>
          </p:cNvPr>
          <p:cNvCxnSpPr>
            <a:cxnSpLocks/>
          </p:cNvCxnSpPr>
          <p:nvPr/>
        </p:nvCxnSpPr>
        <p:spPr>
          <a:xfrm flipH="1" flipV="1">
            <a:off x="6685847" y="412680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ACB4164B-E839-4079-8D6A-D6C9EEB04EE6}"/>
              </a:ext>
            </a:extLst>
          </p:cNvPr>
          <p:cNvCxnSpPr>
            <a:cxnSpLocks/>
          </p:cNvCxnSpPr>
          <p:nvPr/>
        </p:nvCxnSpPr>
        <p:spPr>
          <a:xfrm flipV="1">
            <a:off x="4896158" y="4499844"/>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C94B7729-4E40-44C8-A80B-D0273E6C81A1}"/>
              </a:ext>
            </a:extLst>
          </p:cNvPr>
          <p:cNvCxnSpPr>
            <a:cxnSpLocks/>
          </p:cNvCxnSpPr>
          <p:nvPr/>
        </p:nvCxnSpPr>
        <p:spPr>
          <a:xfrm flipH="1">
            <a:off x="499970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F85720B6-4BA3-4CA8-977C-A96856DA9E84}"/>
              </a:ext>
            </a:extLst>
          </p:cNvPr>
          <p:cNvCxnSpPr>
            <a:cxnSpLocks/>
          </p:cNvCxnSpPr>
          <p:nvPr/>
        </p:nvCxnSpPr>
        <p:spPr>
          <a:xfrm flipH="1">
            <a:off x="5275007"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AA5C9E8E-46E2-4754-914A-A63C798AFCB6}"/>
              </a:ext>
            </a:extLst>
          </p:cNvPr>
          <p:cNvCxnSpPr>
            <a:cxnSpLocks/>
          </p:cNvCxnSpPr>
          <p:nvPr/>
        </p:nvCxnSpPr>
        <p:spPr>
          <a:xfrm flipH="1" flipV="1">
            <a:off x="5646791" y="447034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352D8FCE-FF6E-48CF-ADC2-D6B1F057A505}"/>
              </a:ext>
            </a:extLst>
          </p:cNvPr>
          <p:cNvCxnSpPr>
            <a:cxnSpLocks/>
          </p:cNvCxnSpPr>
          <p:nvPr/>
        </p:nvCxnSpPr>
        <p:spPr>
          <a:xfrm flipV="1">
            <a:off x="6258844" y="449984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0419D333-C344-4E18-A016-911222170539}"/>
              </a:ext>
            </a:extLst>
          </p:cNvPr>
          <p:cNvCxnSpPr>
            <a:cxnSpLocks/>
          </p:cNvCxnSpPr>
          <p:nvPr/>
        </p:nvCxnSpPr>
        <p:spPr>
          <a:xfrm flipH="1">
            <a:off x="633689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A625D1C5-43B5-4C9A-B09D-8221DF1A2A08}"/>
              </a:ext>
            </a:extLst>
          </p:cNvPr>
          <p:cNvCxnSpPr>
            <a:cxnSpLocks/>
          </p:cNvCxnSpPr>
          <p:nvPr/>
        </p:nvCxnSpPr>
        <p:spPr>
          <a:xfrm flipV="1">
            <a:off x="6956322" y="449984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09" name="Rectangle 208">
            <a:extLst>
              <a:ext uri="{FF2B5EF4-FFF2-40B4-BE49-F238E27FC236}">
                <a16:creationId xmlns:a16="http://schemas.microsoft.com/office/drawing/2014/main" id="{8ACE895F-C85F-4E9F-AC89-CA1F119D682A}"/>
              </a:ext>
            </a:extLst>
          </p:cNvPr>
          <p:cNvSpPr/>
          <p:nvPr/>
        </p:nvSpPr>
        <p:spPr>
          <a:xfrm>
            <a:off x="7472517" y="4449149"/>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Find the warp path that starts from here</a:t>
            </a:r>
            <a:endParaRPr lang="en-ID" sz="1000" noProof="0">
              <a:solidFill>
                <a:schemeClr val="tx1"/>
              </a:solidFill>
            </a:endParaRPr>
          </a:p>
        </p:txBody>
      </p:sp>
      <p:sp>
        <p:nvSpPr>
          <p:cNvPr id="210" name="Rectangle 209">
            <a:extLst>
              <a:ext uri="{FF2B5EF4-FFF2-40B4-BE49-F238E27FC236}">
                <a16:creationId xmlns:a16="http://schemas.microsoft.com/office/drawing/2014/main" id="{F4D5628F-6F8E-4B7F-ADDE-FA3B399DA1F2}"/>
              </a:ext>
            </a:extLst>
          </p:cNvPr>
          <p:cNvSpPr/>
          <p:nvPr/>
        </p:nvSpPr>
        <p:spPr>
          <a:xfrm>
            <a:off x="2674989" y="2042673"/>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And always end here</a:t>
            </a:r>
            <a:endParaRPr lang="en-ID" sz="1000" noProof="0">
              <a:solidFill>
                <a:schemeClr val="tx1"/>
              </a:solidFill>
            </a:endParaRPr>
          </a:p>
        </p:txBody>
      </p:sp>
      <p:cxnSp>
        <p:nvCxnSpPr>
          <p:cNvPr id="211" name="Straight Arrow Connector 210">
            <a:extLst>
              <a:ext uri="{FF2B5EF4-FFF2-40B4-BE49-F238E27FC236}">
                <a16:creationId xmlns:a16="http://schemas.microsoft.com/office/drawing/2014/main" id="{63B37402-3012-4DF0-B96C-F39B0E1F3EB1}"/>
              </a:ext>
            </a:extLst>
          </p:cNvPr>
          <p:cNvCxnSpPr>
            <a:stCxn id="210" idx="3"/>
          </p:cNvCxnSpPr>
          <p:nvPr/>
        </p:nvCxnSpPr>
        <p:spPr>
          <a:xfrm>
            <a:off x="4041673" y="2392947"/>
            <a:ext cx="343514" cy="2482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79413389-C517-48B6-BA9C-48BD45C859F9}"/>
              </a:ext>
            </a:extLst>
          </p:cNvPr>
          <p:cNvCxnSpPr>
            <a:stCxn id="209" idx="1"/>
          </p:cNvCxnSpPr>
          <p:nvPr/>
        </p:nvCxnSpPr>
        <p:spPr>
          <a:xfrm flipH="1">
            <a:off x="7127773" y="4799423"/>
            <a:ext cx="344744"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1357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Finding Warp Path</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5</a:t>
            </a:fld>
            <a:endParaRPr lang="en-US"/>
          </a:p>
        </p:txBody>
      </p:sp>
      <p:sp>
        <p:nvSpPr>
          <p:cNvPr id="11" name="Rectangle 10">
            <a:extLst>
              <a:ext uri="{FF2B5EF4-FFF2-40B4-BE49-F238E27FC236}">
                <a16:creationId xmlns:a16="http://schemas.microsoft.com/office/drawing/2014/main" id="{C85B5269-315B-4B8B-AF6B-65C54365C8A5}"/>
              </a:ext>
            </a:extLst>
          </p:cNvPr>
          <p:cNvSpPr/>
          <p:nvPr/>
        </p:nvSpPr>
        <p:spPr>
          <a:xfrm>
            <a:off x="7472517" y="4449149"/>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The distance between time series X and time series Y</a:t>
            </a:r>
            <a:endParaRPr lang="en-ID" sz="1000" noProof="0">
              <a:solidFill>
                <a:schemeClr val="tx1"/>
              </a:solidFill>
            </a:endParaRPr>
          </a:p>
        </p:txBody>
      </p:sp>
      <p:cxnSp>
        <p:nvCxnSpPr>
          <p:cNvPr id="69" name="Straight Arrow Connector 68">
            <a:extLst>
              <a:ext uri="{FF2B5EF4-FFF2-40B4-BE49-F238E27FC236}">
                <a16:creationId xmlns:a16="http://schemas.microsoft.com/office/drawing/2014/main" id="{2FED50D4-28A4-43A1-9CD8-5A3066603E0B}"/>
              </a:ext>
            </a:extLst>
          </p:cNvPr>
          <p:cNvCxnSpPr>
            <a:cxnSpLocks/>
            <a:stCxn id="11" idx="1"/>
          </p:cNvCxnSpPr>
          <p:nvPr/>
        </p:nvCxnSpPr>
        <p:spPr>
          <a:xfrm flipH="1">
            <a:off x="7127773" y="4799423"/>
            <a:ext cx="344744"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6B049CC-878B-4B1A-9729-9F07E46E34B7}"/>
              </a:ext>
            </a:extLst>
          </p:cNvPr>
          <p:cNvSpPr txBox="1"/>
          <p:nvPr/>
        </p:nvSpPr>
        <p:spPr>
          <a:xfrm>
            <a:off x="3195484" y="5261843"/>
            <a:ext cx="5476566" cy="914400"/>
          </a:xfrm>
          <a:prstGeom prst="rect">
            <a:avLst/>
          </a:prstGeom>
          <a:noFill/>
        </p:spPr>
        <p:txBody>
          <a:bodyPr wrap="none" lIns="0" tIns="0" rIns="0" bIns="0" rtlCol="0">
            <a:noAutofit/>
          </a:bodyPr>
          <a:lstStyle/>
          <a:p>
            <a:pPr algn="l" defTabSz="228600">
              <a:spcAft>
                <a:spcPts val="1200"/>
              </a:spcAft>
            </a:pPr>
            <a:r>
              <a:rPr lang="en-US" sz="1400" noProof="0"/>
              <a:t>Warp path: ((1, 1), (1, 2), (1, 3), (2, 4), (3, 5), (4, 6), (5, 7), (6, 7))</a:t>
            </a:r>
          </a:p>
          <a:p>
            <a:pPr algn="l" defTabSz="228600">
              <a:spcAft>
                <a:spcPts val="1200"/>
              </a:spcAft>
            </a:pPr>
            <a:r>
              <a:rPr lang="en-US" sz="1400" noProof="0"/>
              <a:t>Because our time series index starts from 0, let’s adjust:</a:t>
            </a:r>
            <a:br>
              <a:rPr lang="en-US" sz="1400" noProof="0"/>
            </a:br>
            <a:r>
              <a:rPr lang="en-US" sz="1400" b="1" noProof="0"/>
              <a:t>Warp path: ((0, 0), (0, 1), (0, 2), (1, 3), (2, 4), (3, 5), (4, 6), (5, 6))</a:t>
            </a:r>
            <a:endParaRPr lang="en-ID" sz="1400" b="1" noProof="0"/>
          </a:p>
        </p:txBody>
      </p:sp>
      <p:graphicFrame>
        <p:nvGraphicFramePr>
          <p:cNvPr id="156" name="Table 155">
            <a:extLst>
              <a:ext uri="{FF2B5EF4-FFF2-40B4-BE49-F238E27FC236}">
                <a16:creationId xmlns:a16="http://schemas.microsoft.com/office/drawing/2014/main" id="{3C4B044B-7731-4FEB-91B6-943F8A033BD7}"/>
              </a:ext>
            </a:extLst>
          </p:cNvPr>
          <p:cNvGraphicFramePr>
            <a:graphicFrameLocks noGrp="1"/>
          </p:cNvGraphicFramePr>
          <p:nvPr>
            <p:extLst>
              <p:ext uri="{D42A27DB-BD31-4B8C-83A1-F6EECF244321}">
                <p14:modId xmlns:p14="http://schemas.microsoft.com/office/powerpoint/2010/main" val="2658297782"/>
              </p:ext>
            </p:extLst>
          </p:nvPr>
        </p:nvGraphicFramePr>
        <p:xfrm>
          <a:off x="4041673" y="204929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5</a:t>
                      </a:r>
                      <a:endParaRPr lang="en-ID" sz="1100" b="0" i="0" u="none" strike="noStrike">
                        <a:solidFill>
                          <a:srgbClr val="000000"/>
                        </a:solidFill>
                        <a:effectLst/>
                        <a:latin typeface="Graphik" panose="020B0503030202060203"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1</a:t>
                      </a:r>
                      <a:r>
                        <a:rPr lang="en-ID" sz="1100" b="0" i="0" u="none" strike="noStrike">
                          <a:solidFill>
                            <a:srgbClr val="000000"/>
                          </a:solidFill>
                          <a:effectLst/>
                          <a:latin typeface="Graphik" panose="020B0503030202060203"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1"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157" name="TextBox 156">
            <a:extLst>
              <a:ext uri="{FF2B5EF4-FFF2-40B4-BE49-F238E27FC236}">
                <a16:creationId xmlns:a16="http://schemas.microsoft.com/office/drawing/2014/main" id="{CECCE2CE-BF8B-4BC7-B402-E4118721BDE7}"/>
              </a:ext>
            </a:extLst>
          </p:cNvPr>
          <p:cNvSpPr txBox="1"/>
          <p:nvPr/>
        </p:nvSpPr>
        <p:spPr>
          <a:xfrm rot="16200000">
            <a:off x="3195179" y="373653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58" name="TextBox 157">
            <a:extLst>
              <a:ext uri="{FF2B5EF4-FFF2-40B4-BE49-F238E27FC236}">
                <a16:creationId xmlns:a16="http://schemas.microsoft.com/office/drawing/2014/main" id="{127CA1AC-074F-45A8-97C3-5B79333A096A}"/>
              </a:ext>
            </a:extLst>
          </p:cNvPr>
          <p:cNvSpPr txBox="1"/>
          <p:nvPr/>
        </p:nvSpPr>
        <p:spPr>
          <a:xfrm>
            <a:off x="4896158" y="182114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59" name="Straight Arrow Connector 158">
            <a:extLst>
              <a:ext uri="{FF2B5EF4-FFF2-40B4-BE49-F238E27FC236}">
                <a16:creationId xmlns:a16="http://schemas.microsoft.com/office/drawing/2014/main" id="{E53330CF-4744-43C8-9814-78185A18E284}"/>
              </a:ext>
            </a:extLst>
          </p:cNvPr>
          <p:cNvCxnSpPr>
            <a:cxnSpLocks/>
          </p:cNvCxnSpPr>
          <p:nvPr/>
        </p:nvCxnSpPr>
        <p:spPr>
          <a:xfrm flipH="1" flipV="1">
            <a:off x="4591666" y="2641243"/>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63599478-D30D-4ED7-A4E6-F7A0500A148D}"/>
              </a:ext>
            </a:extLst>
          </p:cNvPr>
          <p:cNvCxnSpPr>
            <a:cxnSpLocks/>
          </p:cNvCxnSpPr>
          <p:nvPr/>
        </p:nvCxnSpPr>
        <p:spPr>
          <a:xfrm flipH="1">
            <a:off x="4994788" y="2975540"/>
            <a:ext cx="176981" cy="0"/>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4F3EDC35-EAB4-4E68-9A3B-084A0B90E862}"/>
              </a:ext>
            </a:extLst>
          </p:cNvPr>
          <p:cNvCxnSpPr>
            <a:cxnSpLocks/>
          </p:cNvCxnSpPr>
          <p:nvPr/>
        </p:nvCxnSpPr>
        <p:spPr>
          <a:xfrm flipH="1">
            <a:off x="5275008" y="2975540"/>
            <a:ext cx="176981" cy="0"/>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1ED75E92-5CB2-4D26-A4BA-9EB25A5B7159}"/>
              </a:ext>
            </a:extLst>
          </p:cNvPr>
          <p:cNvCxnSpPr>
            <a:cxnSpLocks/>
          </p:cNvCxnSpPr>
          <p:nvPr/>
        </p:nvCxnSpPr>
        <p:spPr>
          <a:xfrm flipH="1">
            <a:off x="567321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68203004-4C14-46D1-B1F5-A677F6E4DA6E}"/>
              </a:ext>
            </a:extLst>
          </p:cNvPr>
          <p:cNvCxnSpPr>
            <a:cxnSpLocks/>
          </p:cNvCxnSpPr>
          <p:nvPr/>
        </p:nvCxnSpPr>
        <p:spPr>
          <a:xfrm flipH="1">
            <a:off x="602226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DDC70496-CDAC-4D6C-900B-C33CAC5D2F8D}"/>
              </a:ext>
            </a:extLst>
          </p:cNvPr>
          <p:cNvCxnSpPr>
            <a:cxnSpLocks/>
          </p:cNvCxnSpPr>
          <p:nvPr/>
        </p:nvCxnSpPr>
        <p:spPr>
          <a:xfrm flipH="1">
            <a:off x="6346725"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8D3026BF-FD8C-461D-832B-296FB69573B8}"/>
              </a:ext>
            </a:extLst>
          </p:cNvPr>
          <p:cNvCxnSpPr>
            <a:cxnSpLocks/>
          </p:cNvCxnSpPr>
          <p:nvPr/>
        </p:nvCxnSpPr>
        <p:spPr>
          <a:xfrm flipH="1">
            <a:off x="6695770" y="297554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41D0097F-97F0-4661-B1D9-46BC4C995EFA}"/>
              </a:ext>
            </a:extLst>
          </p:cNvPr>
          <p:cNvCxnSpPr>
            <a:cxnSpLocks/>
          </p:cNvCxnSpPr>
          <p:nvPr/>
        </p:nvCxnSpPr>
        <p:spPr>
          <a:xfrm flipV="1">
            <a:off x="4896158" y="305419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0A96204E-ACD4-497D-99AE-B364B97FAAB2}"/>
              </a:ext>
            </a:extLst>
          </p:cNvPr>
          <p:cNvCxnSpPr>
            <a:cxnSpLocks/>
          </p:cNvCxnSpPr>
          <p:nvPr/>
        </p:nvCxnSpPr>
        <p:spPr>
          <a:xfrm flipV="1">
            <a:off x="5225538" y="305389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33CA7171-E5B8-4D97-8E3E-F92AAD2AB4F4}"/>
              </a:ext>
            </a:extLst>
          </p:cNvPr>
          <p:cNvCxnSpPr>
            <a:cxnSpLocks/>
          </p:cNvCxnSpPr>
          <p:nvPr/>
        </p:nvCxnSpPr>
        <p:spPr>
          <a:xfrm flipH="1" flipV="1">
            <a:off x="5276238" y="3039447"/>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68413216-46A1-4D5C-8592-1CCD141A2319}"/>
              </a:ext>
            </a:extLst>
          </p:cNvPr>
          <p:cNvCxnSpPr>
            <a:cxnSpLocks/>
          </p:cNvCxnSpPr>
          <p:nvPr/>
        </p:nvCxnSpPr>
        <p:spPr>
          <a:xfrm flipH="1" flipV="1">
            <a:off x="5584722" y="302405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094E8392-5469-498C-B625-6D53C7326A2D}"/>
              </a:ext>
            </a:extLst>
          </p:cNvPr>
          <p:cNvCxnSpPr>
            <a:cxnSpLocks/>
          </p:cNvCxnSpPr>
          <p:nvPr/>
        </p:nvCxnSpPr>
        <p:spPr>
          <a:xfrm flipH="1">
            <a:off x="602226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E6567C0E-D9ED-460F-8047-EC6F4F173F00}"/>
              </a:ext>
            </a:extLst>
          </p:cNvPr>
          <p:cNvCxnSpPr>
            <a:cxnSpLocks/>
          </p:cNvCxnSpPr>
          <p:nvPr/>
        </p:nvCxnSpPr>
        <p:spPr>
          <a:xfrm flipH="1">
            <a:off x="6346725" y="3341851"/>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5BABB941-1C68-40C2-84A5-2EF866CDB46E}"/>
              </a:ext>
            </a:extLst>
          </p:cNvPr>
          <p:cNvCxnSpPr>
            <a:cxnSpLocks/>
          </p:cNvCxnSpPr>
          <p:nvPr/>
        </p:nvCxnSpPr>
        <p:spPr>
          <a:xfrm flipH="1">
            <a:off x="6695770" y="333813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33AEC1A5-2936-41F5-9CF0-B86D497E303F}"/>
              </a:ext>
            </a:extLst>
          </p:cNvPr>
          <p:cNvCxnSpPr>
            <a:cxnSpLocks/>
          </p:cNvCxnSpPr>
          <p:nvPr/>
        </p:nvCxnSpPr>
        <p:spPr>
          <a:xfrm flipV="1">
            <a:off x="4896158"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CBAC3E68-069A-4A8F-81D7-7C418ADFAE16}"/>
              </a:ext>
            </a:extLst>
          </p:cNvPr>
          <p:cNvCxnSpPr>
            <a:cxnSpLocks/>
          </p:cNvCxnSpPr>
          <p:nvPr/>
        </p:nvCxnSpPr>
        <p:spPr>
          <a:xfrm flipH="1">
            <a:off x="4994788" y="370804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101D1400-081C-4B31-83B9-DBA10541AB08}"/>
              </a:ext>
            </a:extLst>
          </p:cNvPr>
          <p:cNvCxnSpPr>
            <a:cxnSpLocks/>
          </p:cNvCxnSpPr>
          <p:nvPr/>
        </p:nvCxnSpPr>
        <p:spPr>
          <a:xfrm flipV="1">
            <a:off x="5584722"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865979ED-6D7D-485E-B3B4-A28D7BDDFE28}"/>
              </a:ext>
            </a:extLst>
          </p:cNvPr>
          <p:cNvCxnSpPr>
            <a:cxnSpLocks/>
          </p:cNvCxnSpPr>
          <p:nvPr/>
        </p:nvCxnSpPr>
        <p:spPr>
          <a:xfrm flipV="1">
            <a:off x="5933767" y="340656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EAA1A078-08D1-4DCF-A050-43F20334C9B7}"/>
              </a:ext>
            </a:extLst>
          </p:cNvPr>
          <p:cNvCxnSpPr>
            <a:cxnSpLocks/>
          </p:cNvCxnSpPr>
          <p:nvPr/>
        </p:nvCxnSpPr>
        <p:spPr>
          <a:xfrm flipH="1" flipV="1">
            <a:off x="5984466" y="338451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473079EC-D1E3-423C-AD2E-43A0923A16FB}"/>
              </a:ext>
            </a:extLst>
          </p:cNvPr>
          <p:cNvCxnSpPr>
            <a:cxnSpLocks/>
          </p:cNvCxnSpPr>
          <p:nvPr/>
        </p:nvCxnSpPr>
        <p:spPr>
          <a:xfrm flipH="1">
            <a:off x="6351641"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DE03AEBE-A964-4597-AF83-32B7D0DAFF69}"/>
              </a:ext>
            </a:extLst>
          </p:cNvPr>
          <p:cNvCxnSpPr>
            <a:cxnSpLocks/>
          </p:cNvCxnSpPr>
          <p:nvPr/>
        </p:nvCxnSpPr>
        <p:spPr>
          <a:xfrm flipH="1">
            <a:off x="6695770" y="369820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ADE10F1-2718-4E98-9F9F-A6AF9D7D242B}"/>
              </a:ext>
            </a:extLst>
          </p:cNvPr>
          <p:cNvCxnSpPr>
            <a:cxnSpLocks/>
          </p:cNvCxnSpPr>
          <p:nvPr/>
        </p:nvCxnSpPr>
        <p:spPr>
          <a:xfrm flipV="1">
            <a:off x="4900767"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5040F892-8187-493F-B7ED-8BF89BBDD3BB}"/>
              </a:ext>
            </a:extLst>
          </p:cNvPr>
          <p:cNvCxnSpPr>
            <a:cxnSpLocks/>
          </p:cNvCxnSpPr>
          <p:nvPr/>
        </p:nvCxnSpPr>
        <p:spPr>
          <a:xfrm flipV="1">
            <a:off x="5225538" y="3776865"/>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033CA0CE-65AE-4079-8503-8CBFDFB5A88D}"/>
              </a:ext>
            </a:extLst>
          </p:cNvPr>
          <p:cNvCxnSpPr>
            <a:cxnSpLocks/>
          </p:cNvCxnSpPr>
          <p:nvPr/>
        </p:nvCxnSpPr>
        <p:spPr>
          <a:xfrm flipV="1">
            <a:off x="5584722" y="377195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8B89EB17-46BF-46E4-83D2-B19A24F6DDC9}"/>
              </a:ext>
            </a:extLst>
          </p:cNvPr>
          <p:cNvCxnSpPr>
            <a:cxnSpLocks/>
          </p:cNvCxnSpPr>
          <p:nvPr/>
        </p:nvCxnSpPr>
        <p:spPr>
          <a:xfrm flipH="1" flipV="1">
            <a:off x="5646791" y="3739391"/>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D80E1D19-ADCC-422D-A05B-8FC621A0298D}"/>
              </a:ext>
            </a:extLst>
          </p:cNvPr>
          <p:cNvCxnSpPr>
            <a:cxnSpLocks/>
          </p:cNvCxnSpPr>
          <p:nvPr/>
        </p:nvCxnSpPr>
        <p:spPr>
          <a:xfrm flipV="1">
            <a:off x="6273287" y="376888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79BC042D-4035-4BC3-95D3-F2582B131816}"/>
              </a:ext>
            </a:extLst>
          </p:cNvPr>
          <p:cNvCxnSpPr>
            <a:cxnSpLocks/>
          </p:cNvCxnSpPr>
          <p:nvPr/>
        </p:nvCxnSpPr>
        <p:spPr>
          <a:xfrm flipH="1" flipV="1">
            <a:off x="6346725" y="3778743"/>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4329155A-679A-4A3A-A6AF-79E18383CE8F}"/>
              </a:ext>
            </a:extLst>
          </p:cNvPr>
          <p:cNvCxnSpPr>
            <a:cxnSpLocks/>
          </p:cNvCxnSpPr>
          <p:nvPr/>
        </p:nvCxnSpPr>
        <p:spPr>
          <a:xfrm flipH="1">
            <a:off x="6695770" y="4054045"/>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31CB12F7-67FD-4E45-8E30-0002FF3F7E2E}"/>
              </a:ext>
            </a:extLst>
          </p:cNvPr>
          <p:cNvCxnSpPr>
            <a:cxnSpLocks/>
          </p:cNvCxnSpPr>
          <p:nvPr/>
        </p:nvCxnSpPr>
        <p:spPr>
          <a:xfrm flipV="1">
            <a:off x="4896158"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4756D4EF-9206-4203-AEFD-F19F4F2E8B9A}"/>
              </a:ext>
            </a:extLst>
          </p:cNvPr>
          <p:cNvCxnSpPr>
            <a:cxnSpLocks/>
          </p:cNvCxnSpPr>
          <p:nvPr/>
        </p:nvCxnSpPr>
        <p:spPr>
          <a:xfrm flipH="1">
            <a:off x="4989871" y="442088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6659D1AF-7A2E-4D67-A285-553D8BB12EBB}"/>
              </a:ext>
            </a:extLst>
          </p:cNvPr>
          <p:cNvCxnSpPr>
            <a:cxnSpLocks/>
          </p:cNvCxnSpPr>
          <p:nvPr/>
        </p:nvCxnSpPr>
        <p:spPr>
          <a:xfrm flipV="1">
            <a:off x="5584722" y="414066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DB46A256-DF13-4958-B471-383305432D8F}"/>
              </a:ext>
            </a:extLst>
          </p:cNvPr>
          <p:cNvCxnSpPr>
            <a:cxnSpLocks/>
          </p:cNvCxnSpPr>
          <p:nvPr/>
        </p:nvCxnSpPr>
        <p:spPr>
          <a:xfrm flipH="1" flipV="1">
            <a:off x="5678129" y="411790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961BDF59-1B81-4A60-9EEB-B5DFB4CD2B4E}"/>
              </a:ext>
            </a:extLst>
          </p:cNvPr>
          <p:cNvCxnSpPr>
            <a:cxnSpLocks/>
          </p:cNvCxnSpPr>
          <p:nvPr/>
        </p:nvCxnSpPr>
        <p:spPr>
          <a:xfrm flipV="1">
            <a:off x="6263455" y="413757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FF7C9BDC-786D-4F8B-B728-F25A69BCDE88}"/>
              </a:ext>
            </a:extLst>
          </p:cNvPr>
          <p:cNvCxnSpPr>
            <a:cxnSpLocks/>
          </p:cNvCxnSpPr>
          <p:nvPr/>
        </p:nvCxnSpPr>
        <p:spPr>
          <a:xfrm flipV="1">
            <a:off x="6597753" y="413447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06562C9B-E76E-4C6E-9540-0EE53498311A}"/>
              </a:ext>
            </a:extLst>
          </p:cNvPr>
          <p:cNvCxnSpPr>
            <a:cxnSpLocks/>
          </p:cNvCxnSpPr>
          <p:nvPr/>
        </p:nvCxnSpPr>
        <p:spPr>
          <a:xfrm flipH="1" flipV="1">
            <a:off x="6685847" y="412680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CF220525-C48E-42D8-915C-D266CB3DC03D}"/>
              </a:ext>
            </a:extLst>
          </p:cNvPr>
          <p:cNvCxnSpPr>
            <a:cxnSpLocks/>
          </p:cNvCxnSpPr>
          <p:nvPr/>
        </p:nvCxnSpPr>
        <p:spPr>
          <a:xfrm flipV="1">
            <a:off x="4896158" y="4499844"/>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0873829A-B0BD-4CA0-A25C-8D4669939C51}"/>
              </a:ext>
            </a:extLst>
          </p:cNvPr>
          <p:cNvCxnSpPr>
            <a:cxnSpLocks/>
          </p:cNvCxnSpPr>
          <p:nvPr/>
        </p:nvCxnSpPr>
        <p:spPr>
          <a:xfrm flipH="1">
            <a:off x="499970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4EB3B01A-4926-46D5-9F2A-02E6A1BB22B2}"/>
              </a:ext>
            </a:extLst>
          </p:cNvPr>
          <p:cNvCxnSpPr>
            <a:cxnSpLocks/>
          </p:cNvCxnSpPr>
          <p:nvPr/>
        </p:nvCxnSpPr>
        <p:spPr>
          <a:xfrm flipH="1">
            <a:off x="5275007"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48692F00-8BAB-46B6-BF41-96D821263629}"/>
              </a:ext>
            </a:extLst>
          </p:cNvPr>
          <p:cNvCxnSpPr>
            <a:cxnSpLocks/>
          </p:cNvCxnSpPr>
          <p:nvPr/>
        </p:nvCxnSpPr>
        <p:spPr>
          <a:xfrm flipH="1" flipV="1">
            <a:off x="5646791" y="447034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160B8296-65D7-466D-9CB1-BFA584E8B120}"/>
              </a:ext>
            </a:extLst>
          </p:cNvPr>
          <p:cNvCxnSpPr>
            <a:cxnSpLocks/>
          </p:cNvCxnSpPr>
          <p:nvPr/>
        </p:nvCxnSpPr>
        <p:spPr>
          <a:xfrm flipV="1">
            <a:off x="6258844" y="449984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774365C0-9F78-4F1A-A883-553F9A3FB082}"/>
              </a:ext>
            </a:extLst>
          </p:cNvPr>
          <p:cNvCxnSpPr>
            <a:cxnSpLocks/>
          </p:cNvCxnSpPr>
          <p:nvPr/>
        </p:nvCxnSpPr>
        <p:spPr>
          <a:xfrm flipH="1">
            <a:off x="6336892" y="479942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id="{F83ADEFF-15A7-4CE9-9FF7-03551167209E}"/>
              </a:ext>
            </a:extLst>
          </p:cNvPr>
          <p:cNvCxnSpPr>
            <a:cxnSpLocks/>
          </p:cNvCxnSpPr>
          <p:nvPr/>
        </p:nvCxnSpPr>
        <p:spPr>
          <a:xfrm flipV="1">
            <a:off x="6956322" y="449984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6653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Warp Path Interpretation</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6</a:t>
            </a:fld>
            <a:endParaRPr lang="en-US"/>
          </a:p>
        </p:txBody>
      </p:sp>
      <p:graphicFrame>
        <p:nvGraphicFramePr>
          <p:cNvPr id="64" name="Chart 63">
            <a:extLst>
              <a:ext uri="{FF2B5EF4-FFF2-40B4-BE49-F238E27FC236}">
                <a16:creationId xmlns:a16="http://schemas.microsoft.com/office/drawing/2014/main" id="{CE1B8B17-3455-4DE7-9EAE-66AB3B33CBAB}"/>
              </a:ext>
            </a:extLst>
          </p:cNvPr>
          <p:cNvGraphicFramePr>
            <a:graphicFrameLocks/>
          </p:cNvGraphicFramePr>
          <p:nvPr>
            <p:extLst>
              <p:ext uri="{D42A27DB-BD31-4B8C-83A1-F6EECF244321}">
                <p14:modId xmlns:p14="http://schemas.microsoft.com/office/powerpoint/2010/main" val="2344576997"/>
              </p:ext>
            </p:extLst>
          </p:nvPr>
        </p:nvGraphicFramePr>
        <p:xfrm>
          <a:off x="1302770" y="2063220"/>
          <a:ext cx="9591371" cy="20564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6" name="Chart 65">
            <a:extLst>
              <a:ext uri="{FF2B5EF4-FFF2-40B4-BE49-F238E27FC236}">
                <a16:creationId xmlns:a16="http://schemas.microsoft.com/office/drawing/2014/main" id="{60CCF678-3A1E-433A-85A1-31FA5488DE50}"/>
              </a:ext>
            </a:extLst>
          </p:cNvPr>
          <p:cNvGraphicFramePr>
            <a:graphicFrameLocks/>
          </p:cNvGraphicFramePr>
          <p:nvPr>
            <p:extLst>
              <p:ext uri="{D42A27DB-BD31-4B8C-83A1-F6EECF244321}">
                <p14:modId xmlns:p14="http://schemas.microsoft.com/office/powerpoint/2010/main" val="2915556853"/>
              </p:ext>
            </p:extLst>
          </p:nvPr>
        </p:nvGraphicFramePr>
        <p:xfrm>
          <a:off x="1300314" y="4275727"/>
          <a:ext cx="9591371" cy="2056495"/>
        </p:xfrm>
        <a:graphic>
          <a:graphicData uri="http://schemas.openxmlformats.org/drawingml/2006/chart">
            <c:chart xmlns:c="http://schemas.openxmlformats.org/drawingml/2006/chart" xmlns:r="http://schemas.openxmlformats.org/officeDocument/2006/relationships" r:id="rId3"/>
          </a:graphicData>
        </a:graphic>
      </p:graphicFrame>
      <p:sp>
        <p:nvSpPr>
          <p:cNvPr id="68" name="TextBox 67">
            <a:extLst>
              <a:ext uri="{FF2B5EF4-FFF2-40B4-BE49-F238E27FC236}">
                <a16:creationId xmlns:a16="http://schemas.microsoft.com/office/drawing/2014/main" id="{D23AB0A9-C1D0-44E0-BC77-1C494214D6A8}"/>
              </a:ext>
            </a:extLst>
          </p:cNvPr>
          <p:cNvSpPr txBox="1"/>
          <p:nvPr/>
        </p:nvSpPr>
        <p:spPr>
          <a:xfrm>
            <a:off x="3357716" y="1619042"/>
            <a:ext cx="5476566" cy="914400"/>
          </a:xfrm>
          <a:prstGeom prst="rect">
            <a:avLst/>
          </a:prstGeom>
          <a:noFill/>
        </p:spPr>
        <p:txBody>
          <a:bodyPr wrap="none" lIns="0" tIns="0" rIns="0" bIns="0" rtlCol="0">
            <a:noAutofit/>
          </a:bodyPr>
          <a:lstStyle/>
          <a:p>
            <a:pPr algn="l" defTabSz="228600">
              <a:spcAft>
                <a:spcPts val="1200"/>
              </a:spcAft>
            </a:pPr>
            <a:r>
              <a:rPr lang="en-US" sz="1400" b="1" noProof="0"/>
              <a:t>Warp path: ((0, 0), (0, 1), (0, 2), (1, 3), (2, 4), (3, 5), (4, 6), (5, 6))</a:t>
            </a:r>
            <a:endParaRPr lang="en-ID" sz="1400" b="1" noProof="0"/>
          </a:p>
        </p:txBody>
      </p:sp>
      <p:cxnSp>
        <p:nvCxnSpPr>
          <p:cNvPr id="7" name="Straight Connector 6">
            <a:extLst>
              <a:ext uri="{FF2B5EF4-FFF2-40B4-BE49-F238E27FC236}">
                <a16:creationId xmlns:a16="http://schemas.microsoft.com/office/drawing/2014/main" id="{4B59FAF2-E7AD-457B-BA56-54FD302F8D5E}"/>
              </a:ext>
            </a:extLst>
          </p:cNvPr>
          <p:cNvCxnSpPr/>
          <p:nvPr/>
        </p:nvCxnSpPr>
        <p:spPr>
          <a:xfrm>
            <a:off x="2222090" y="3932903"/>
            <a:ext cx="0" cy="221225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D9580E8F-8248-4095-9819-FCE9E1A79649}"/>
              </a:ext>
            </a:extLst>
          </p:cNvPr>
          <p:cNvCxnSpPr>
            <a:cxnSpLocks/>
          </p:cNvCxnSpPr>
          <p:nvPr/>
        </p:nvCxnSpPr>
        <p:spPr>
          <a:xfrm>
            <a:off x="2222090" y="3932903"/>
            <a:ext cx="1307691" cy="221225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F9B60BE9-5EDC-47D1-8CC3-17FE021792D9}"/>
              </a:ext>
            </a:extLst>
          </p:cNvPr>
          <p:cNvCxnSpPr>
            <a:cxnSpLocks/>
          </p:cNvCxnSpPr>
          <p:nvPr/>
        </p:nvCxnSpPr>
        <p:spPr>
          <a:xfrm>
            <a:off x="2222090" y="3932903"/>
            <a:ext cx="2576052" cy="190745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F328966E-D648-44FA-A189-A067E16FA961}"/>
              </a:ext>
            </a:extLst>
          </p:cNvPr>
          <p:cNvCxnSpPr>
            <a:cxnSpLocks/>
          </p:cNvCxnSpPr>
          <p:nvPr/>
        </p:nvCxnSpPr>
        <p:spPr>
          <a:xfrm>
            <a:off x="3529781" y="2851355"/>
            <a:ext cx="2566219" cy="2192593"/>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8E073DB4-6F4F-4D5F-AFAF-203A8412AC4E}"/>
              </a:ext>
            </a:extLst>
          </p:cNvPr>
          <p:cNvCxnSpPr>
            <a:cxnSpLocks/>
          </p:cNvCxnSpPr>
          <p:nvPr/>
        </p:nvCxnSpPr>
        <p:spPr>
          <a:xfrm>
            <a:off x="4798142" y="3932903"/>
            <a:ext cx="2595716" cy="221225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4B4D6CE3-EDDB-4B55-8323-36C1E7BC6147}"/>
              </a:ext>
            </a:extLst>
          </p:cNvPr>
          <p:cNvCxnSpPr>
            <a:cxnSpLocks/>
          </p:cNvCxnSpPr>
          <p:nvPr/>
        </p:nvCxnSpPr>
        <p:spPr>
          <a:xfrm>
            <a:off x="6096000" y="3362632"/>
            <a:ext cx="2566219" cy="2260374"/>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6536742B-A6CC-4C84-B5B1-1DE9B28D1465}"/>
              </a:ext>
            </a:extLst>
          </p:cNvPr>
          <p:cNvCxnSpPr>
            <a:cxnSpLocks/>
          </p:cNvCxnSpPr>
          <p:nvPr/>
        </p:nvCxnSpPr>
        <p:spPr>
          <a:xfrm>
            <a:off x="7393858" y="3932903"/>
            <a:ext cx="2576052" cy="221225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988DC4D4-BC7B-4AD0-8FA2-8EA5FADE034D}"/>
              </a:ext>
            </a:extLst>
          </p:cNvPr>
          <p:cNvCxnSpPr>
            <a:cxnSpLocks/>
          </p:cNvCxnSpPr>
          <p:nvPr/>
        </p:nvCxnSpPr>
        <p:spPr>
          <a:xfrm>
            <a:off x="8662219" y="3932903"/>
            <a:ext cx="1307691" cy="2212258"/>
          </a:xfrm>
          <a:prstGeom prst="line">
            <a:avLst/>
          </a:prstGeom>
          <a:ln>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86238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Time Warping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Time Complexity</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pPr marL="0" indent="0">
                  <a:buNone/>
                </a:pPr>
                <a:r>
                  <a:rPr lang="en-US" sz="1400"/>
                  <a:t>Inputs: time series X of length N</a:t>
                </a:r>
                <a:r>
                  <a:rPr lang="en-US" sz="1400" baseline="-25000"/>
                  <a:t> </a:t>
                </a:r>
                <a:r>
                  <a:rPr lang="en-US" sz="1400"/>
                  <a:t>and time series of length M</a:t>
                </a:r>
                <a:endParaRPr lang="en-US" sz="1400" baseline="-25000"/>
              </a:p>
              <a:p>
                <a:pPr marL="0" indent="0">
                  <a:buNone/>
                </a:pPr>
                <a:endParaRPr lang="en-US" sz="1400"/>
              </a:p>
              <a:p>
                <a:pPr marL="0" indent="0">
                  <a:buNone/>
                </a:pPr>
                <a:r>
                  <a:rPr lang="en-US" sz="1400"/>
                  <a:t>Cost matrix: </a:t>
                </a:r>
                <a:r>
                  <a:rPr lang="en-US" sz="1400" b="1"/>
                  <a:t>D </a:t>
                </a:r>
                <a14:m>
                  <m:oMath xmlns:m="http://schemas.openxmlformats.org/officeDocument/2006/math">
                    <m:r>
                      <a:rPr lang="en-US" sz="1400" b="1" i="1" smtClean="0">
                        <a:latin typeface="Cambria Math" panose="02040503050406030204" pitchFamily="18" charset="0"/>
                        <a:ea typeface="Cambria Math" panose="02040503050406030204" pitchFamily="18" charset="0"/>
                      </a:rPr>
                      <m:t>∈</m:t>
                    </m:r>
                  </m:oMath>
                </a14:m>
                <a:r>
                  <a:rPr lang="en-US" sz="1400" b="1"/>
                  <a:t> </a:t>
                </a:r>
                <a14:m>
                  <m:oMath xmlns:m="http://schemas.openxmlformats.org/officeDocument/2006/math">
                    <m:r>
                      <a:rPr lang="en-US" sz="1400" b="1" i="1" dirty="0">
                        <a:latin typeface="Cambria Math" panose="02040503050406030204" pitchFamily="18" charset="0"/>
                        <a:ea typeface="Cambria Math" panose="02040503050406030204" pitchFamily="18" charset="0"/>
                      </a:rPr>
                      <m:t>ℝ</m:t>
                    </m:r>
                  </m:oMath>
                </a14:m>
                <a:r>
                  <a:rPr lang="en-US" sz="1400" baseline="30000"/>
                  <a:t>(N + 1) x (M + 1)</a:t>
                </a:r>
                <a:endParaRPr lang="en-US" sz="1400"/>
              </a:p>
              <a:p>
                <a:pPr marL="0" indent="0">
                  <a:buNone/>
                </a:pPr>
                <a:r>
                  <a:rPr lang="en-US" sz="1400"/>
                  <a:t>Initialization:</a:t>
                </a:r>
              </a:p>
              <a:p>
                <a:pPr marL="0" indent="0">
                  <a:buNone/>
                </a:pPr>
                <a:r>
                  <a:rPr lang="en-US" sz="1400"/>
                  <a:t>D</a:t>
                </a:r>
                <a:r>
                  <a:rPr lang="en-US" sz="1400" baseline="-25000"/>
                  <a:t>0, 0</a:t>
                </a:r>
                <a:r>
                  <a:rPr lang="en-US" sz="1400"/>
                  <a:t> = 0</a:t>
                </a:r>
              </a:p>
              <a:p>
                <a:pPr marL="0" indent="0">
                  <a:buNone/>
                </a:pPr>
                <a:r>
                  <a:rPr lang="en-US" sz="1400"/>
                  <a:t>D</a:t>
                </a:r>
                <a:r>
                  <a:rPr lang="en-US" sz="1400" baseline="-25000"/>
                  <a:t>1:N, 0</a:t>
                </a:r>
                <a:r>
                  <a:rPr lang="en-US" sz="1400"/>
                  <a:t> = inf</a:t>
                </a:r>
              </a:p>
              <a:p>
                <a:pPr marL="0" indent="0">
                  <a:buNone/>
                </a:pPr>
                <a:r>
                  <a:rPr lang="en-US" sz="1400"/>
                  <a:t>D</a:t>
                </a:r>
                <a:r>
                  <a:rPr lang="en-US" sz="1400" baseline="-25000"/>
                  <a:t>0, 1:M</a:t>
                </a:r>
                <a:r>
                  <a:rPr lang="en-US" sz="1400"/>
                  <a:t> = inf</a:t>
                </a:r>
              </a:p>
              <a:p>
                <a:pPr marL="0" indent="0">
                  <a:buNone/>
                </a:pPr>
                <a:endParaRPr lang="en-US" sz="1400"/>
              </a:p>
              <a:p>
                <a:pPr marL="0" indent="0">
                  <a:buNone/>
                </a:pPr>
                <a:r>
                  <a:rPr lang="en-US" sz="1400"/>
                  <a:t>Calculate cost matrix:</a:t>
                </a:r>
              </a:p>
              <a:p>
                <a:pPr marL="0" indent="0">
                  <a:buNone/>
                </a:pPr>
                <a:r>
                  <a:rPr lang="en-US" sz="1400"/>
                  <a:t>for i = 0 to N - 1:</a:t>
                </a:r>
              </a:p>
              <a:p>
                <a:pPr marL="0" indent="0">
                  <a:buNone/>
                </a:pPr>
                <a:r>
                  <a:rPr lang="en-US" sz="1400"/>
                  <a:t>		for j = 0 to M - 1:</a:t>
                </a:r>
              </a:p>
              <a:p>
                <a:pPr marL="0" indent="0">
                  <a:buNone/>
                </a:pPr>
                <a:r>
                  <a:rPr lang="en-US" sz="1400"/>
                  <a:t>													D</a:t>
                </a:r>
                <a:r>
                  <a:rPr lang="en-US" sz="1400" baseline="-25000"/>
                  <a:t>i, j</a:t>
                </a:r>
                <a:endParaRPr lang="en-US" sz="1400"/>
              </a:p>
              <a:p>
                <a:pPr marL="0" indent="0">
                  <a:buNone/>
                </a:pPr>
                <a:r>
                  <a:rPr lang="en-US" sz="1400"/>
                  <a:t>				D</a:t>
                </a:r>
                <a:r>
                  <a:rPr lang="en-US" sz="1400" baseline="-25000"/>
                  <a:t>i + 1, j + 1 </a:t>
                </a:r>
                <a:r>
                  <a:rPr lang="en-US" sz="1400"/>
                  <a:t>= d(x</a:t>
                </a:r>
                <a:r>
                  <a:rPr lang="en-US" sz="1400" baseline="-25000"/>
                  <a:t>i</a:t>
                </a:r>
                <a:r>
                  <a:rPr lang="en-US" sz="1400"/>
                  <a:t>, </a:t>
                </a:r>
                <a:r>
                  <a:rPr lang="en-US" sz="1400" err="1"/>
                  <a:t>y</a:t>
                </a:r>
                <a:r>
                  <a:rPr lang="en-US" sz="1400" baseline="-25000" err="1"/>
                  <a:t>j</a:t>
                </a:r>
                <a:r>
                  <a:rPr lang="en-US" sz="1400"/>
                  <a:t>) + min	D</a:t>
                </a:r>
                <a:r>
                  <a:rPr lang="en-US" sz="1400" baseline="-25000"/>
                  <a:t>i, j + 1</a:t>
                </a:r>
              </a:p>
              <a:p>
                <a:pPr marL="0" indent="0">
                  <a:buNone/>
                </a:pPr>
                <a:r>
                  <a:rPr lang="en-US" sz="1400" baseline="-25000"/>
                  <a:t>													</a:t>
                </a:r>
                <a:r>
                  <a:rPr lang="en-US" sz="1400"/>
                  <a:t>D</a:t>
                </a:r>
                <a:r>
                  <a:rPr lang="en-US" sz="1400" baseline="-25000"/>
                  <a:t>i + 1, j</a:t>
                </a:r>
              </a:p>
              <a:p>
                <a:pPr marL="0" indent="0">
                  <a:buNone/>
                </a:pPr>
                <a:r>
                  <a:rPr lang="en-US" sz="1400"/>
                  <a:t>d(x</a:t>
                </a:r>
                <a:r>
                  <a:rPr lang="en-US" sz="1400" baseline="-25000"/>
                  <a:t>i</a:t>
                </a:r>
                <a:r>
                  <a:rPr lang="en-US" sz="1400"/>
                  <a:t>, </a:t>
                </a:r>
                <a:r>
                  <a:rPr lang="en-US" sz="1400" err="1"/>
                  <a:t>y</a:t>
                </a:r>
                <a:r>
                  <a:rPr lang="en-US" sz="1400" baseline="-25000" err="1"/>
                  <a:t>j</a:t>
                </a:r>
                <a:r>
                  <a:rPr lang="en-US" sz="1400"/>
                  <a:t>) = |x</a:t>
                </a:r>
                <a:r>
                  <a:rPr lang="en-US" sz="1400" baseline="-25000"/>
                  <a:t>i</a:t>
                </a:r>
                <a:r>
                  <a:rPr lang="en-US" sz="1400"/>
                  <a:t> – </a:t>
                </a:r>
                <a:r>
                  <a:rPr lang="en-US" sz="1400" err="1"/>
                  <a:t>y</a:t>
                </a:r>
                <a:r>
                  <a:rPr lang="en-US" sz="1400" baseline="-25000" err="1"/>
                  <a:t>j</a:t>
                </a:r>
                <a:r>
                  <a:rPr lang="en-US" sz="1400"/>
                  <a:t>| (</a:t>
                </a:r>
                <a:r>
                  <a:rPr lang="en-US" sz="1400" err="1"/>
                  <a:t>cityblock</a:t>
                </a:r>
                <a:r>
                  <a:rPr lang="en-US" sz="1400"/>
                  <a:t> or Manhattan distance)</a:t>
                </a:r>
              </a:p>
              <a:p>
                <a:pPr marL="0" indent="0">
                  <a:buNone/>
                </a:pPr>
                <a:r>
                  <a:rPr lang="en-US" sz="1400"/>
                  <a:t>Trace the warp path from D</a:t>
                </a:r>
                <a:r>
                  <a:rPr lang="en-US" sz="1400" baseline="-25000"/>
                  <a:t>N, M</a:t>
                </a:r>
                <a:r>
                  <a:rPr lang="en-US" sz="1400"/>
                  <a:t> to D</a:t>
                </a:r>
                <a:r>
                  <a:rPr lang="en-US" sz="1400" baseline="-25000"/>
                  <a:t>0, 0</a:t>
                </a:r>
                <a:endParaRPr lang="en-US" sz="1400"/>
              </a:p>
            </p:txBody>
          </p:sp>
        </mc:Choice>
        <mc:Fallback xmlns="">
          <p:sp>
            <p:nvSpPr>
              <p:cNvPr id="3" name="Content Placeholder 2">
                <a:extLst>
                  <a:ext uri="{FF2B5EF4-FFF2-40B4-BE49-F238E27FC236}">
                    <a16:creationId xmlns:a16="http://schemas.microsoft.com/office/drawing/2014/main" id="{D28A6797-48C6-4420-B292-163D7C7B7802}"/>
                  </a:ext>
                </a:extLst>
              </p:cNvPr>
              <p:cNvSpPr>
                <a:spLocks noGrp="1" noRot="1" noChangeAspect="1" noMove="1" noResize="1" noEditPoints="1" noAdjustHandles="1" noChangeArrowheads="1" noChangeShapeType="1" noTextEdit="1"/>
              </p:cNvSpPr>
              <p:nvPr>
                <p:ph sz="quarter" idx="10"/>
              </p:nvPr>
            </p:nvSpPr>
            <p:spPr>
              <a:blipFill>
                <a:blip r:embed="rId2"/>
                <a:stretch>
                  <a:fillRect l="-960" t="-1259" b="-7133"/>
                </a:stretch>
              </a:blipFill>
            </p:spPr>
            <p:txBody>
              <a:bodyPr/>
              <a:lstStyle/>
              <a:p>
                <a:r>
                  <a:rPr lang="en-US">
                    <a:noFill/>
                  </a:rPr>
                  <a:t> </a:t>
                </a:r>
              </a:p>
            </p:txBody>
          </p:sp>
        </mc:Fallback>
      </mc:AlternateContent>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7</a:t>
            </a:fld>
            <a:endParaRPr lang="en-US"/>
          </a:p>
        </p:txBody>
      </p:sp>
      <p:sp>
        <p:nvSpPr>
          <p:cNvPr id="7" name="Left Brace 6">
            <a:extLst>
              <a:ext uri="{FF2B5EF4-FFF2-40B4-BE49-F238E27FC236}">
                <a16:creationId xmlns:a16="http://schemas.microsoft.com/office/drawing/2014/main" id="{4A43317C-810E-4206-881B-9967B5510D73}"/>
              </a:ext>
            </a:extLst>
          </p:cNvPr>
          <p:cNvSpPr/>
          <p:nvPr/>
        </p:nvSpPr>
        <p:spPr>
          <a:xfrm>
            <a:off x="3185652" y="5240594"/>
            <a:ext cx="137651" cy="58010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ID"/>
          </a:p>
        </p:txBody>
      </p:sp>
      <p:sp>
        <p:nvSpPr>
          <p:cNvPr id="8" name="Rectangle 7">
            <a:extLst>
              <a:ext uri="{FF2B5EF4-FFF2-40B4-BE49-F238E27FC236}">
                <a16:creationId xmlns:a16="http://schemas.microsoft.com/office/drawing/2014/main" id="{CF7D03D2-6E92-4D5E-B0CD-5B7AC8740E55}"/>
              </a:ext>
            </a:extLst>
          </p:cNvPr>
          <p:cNvSpPr/>
          <p:nvPr/>
        </p:nvSpPr>
        <p:spPr>
          <a:xfrm>
            <a:off x="255640" y="4498571"/>
            <a:ext cx="4267200" cy="1508940"/>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sp>
        <p:nvSpPr>
          <p:cNvPr id="9" name="TextBox 8">
            <a:extLst>
              <a:ext uri="{FF2B5EF4-FFF2-40B4-BE49-F238E27FC236}">
                <a16:creationId xmlns:a16="http://schemas.microsoft.com/office/drawing/2014/main" id="{6F3F0D93-7CBF-45DD-BB43-58953184CCCE}"/>
              </a:ext>
            </a:extLst>
          </p:cNvPr>
          <p:cNvSpPr txBox="1"/>
          <p:nvPr/>
        </p:nvSpPr>
        <p:spPr>
          <a:xfrm>
            <a:off x="4665408" y="5165806"/>
            <a:ext cx="914400" cy="914400"/>
          </a:xfrm>
          <a:prstGeom prst="rect">
            <a:avLst/>
          </a:prstGeom>
          <a:noFill/>
        </p:spPr>
        <p:txBody>
          <a:bodyPr wrap="none" lIns="0" tIns="0" rIns="0" bIns="0" rtlCol="0">
            <a:noAutofit/>
          </a:bodyPr>
          <a:lstStyle/>
          <a:p>
            <a:pPr algn="l" defTabSz="228600">
              <a:spcAft>
                <a:spcPts val="1200"/>
              </a:spcAft>
            </a:pPr>
            <a:r>
              <a:rPr lang="en-US" sz="1400" b="1" noProof="0"/>
              <a:t>Runs in O(N</a:t>
            </a:r>
            <a:r>
              <a:rPr lang="en-US" sz="1400" b="1" baseline="30000" noProof="0"/>
              <a:t>2</a:t>
            </a:r>
            <a:r>
              <a:rPr lang="en-US" sz="1400" b="1" noProof="0"/>
              <a:t>)</a:t>
            </a:r>
            <a:endParaRPr lang="en-ID" sz="1400" b="1" noProof="0"/>
          </a:p>
        </p:txBody>
      </p:sp>
    </p:spTree>
    <p:extLst>
      <p:ext uri="{BB962C8B-B14F-4D97-AF65-F5344CB8AC3E}">
        <p14:creationId xmlns:p14="http://schemas.microsoft.com/office/powerpoint/2010/main" val="5593736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The </a:t>
            </a:r>
            <a:r>
              <a:rPr lang="en-US" err="1"/>
              <a:t>Sakoe</a:t>
            </a:r>
            <a:r>
              <a:rPr lang="en-US"/>
              <a:t>-Chiba Band</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Making DTW Faster </a:t>
            </a:r>
            <a:r>
              <a:rPr lang="en-ID" b="0" i="0">
                <a:solidFill>
                  <a:srgbClr val="000000"/>
                </a:solidFill>
                <a:effectLst/>
                <a:latin typeface="apple color emoji"/>
              </a:rPr>
              <a:t>🧐</a:t>
            </a:r>
            <a:endParaRPr lang="en-ID" b="1" i="0">
              <a:solidFill>
                <a:srgbClr val="000000"/>
              </a:solidFill>
              <a:effectLst/>
              <a:latin typeface="helvetica neue"/>
            </a:endParaRP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latin typeface="Graphik" panose="020B0503030202060203" pitchFamily="34" charset="0"/>
              </a:rPr>
              <a:t>The </a:t>
            </a:r>
            <a:r>
              <a:rPr lang="en-US" err="1">
                <a:latin typeface="Graphik" panose="020B0503030202060203" pitchFamily="34" charset="0"/>
              </a:rPr>
              <a:t>Sakoe</a:t>
            </a:r>
            <a:r>
              <a:rPr lang="en-US">
                <a:latin typeface="Graphik" panose="020B0503030202060203" pitchFamily="34" charset="0"/>
              </a:rPr>
              <a:t>-Chiba band is defined through a radius parameter which determines the largest temporal shift allowed from the diagonal in the direction of the longest time series</a:t>
            </a:r>
          </a:p>
          <a:p>
            <a:r>
              <a:rPr lang="en-US">
                <a:latin typeface="Graphik" panose="020B0503030202060203" pitchFamily="34" charset="0"/>
              </a:rPr>
              <a:t>DTW cost matrix with </a:t>
            </a:r>
            <a:r>
              <a:rPr lang="en-US" err="1">
                <a:latin typeface="Graphik" panose="020B0503030202060203" pitchFamily="34" charset="0"/>
              </a:rPr>
              <a:t>Sakoe</a:t>
            </a:r>
            <a:r>
              <a:rPr lang="en-US">
                <a:latin typeface="Graphik" panose="020B0503030202060203" pitchFamily="34" charset="0"/>
              </a:rPr>
              <a:t>-Chiba band of radius 1:</a:t>
            </a:r>
          </a:p>
          <a:p>
            <a:endParaRPr lang="en-US">
              <a:latin typeface="Graphik" panose="020B0503030202060203" pitchFamily="34" charset="0"/>
            </a:endParaRP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8</a:t>
            </a:fld>
            <a:endParaRPr lang="en-US"/>
          </a:p>
        </p:txBody>
      </p:sp>
      <p:graphicFrame>
        <p:nvGraphicFramePr>
          <p:cNvPr id="8" name="Table 7">
            <a:extLst>
              <a:ext uri="{FF2B5EF4-FFF2-40B4-BE49-F238E27FC236}">
                <a16:creationId xmlns:a16="http://schemas.microsoft.com/office/drawing/2014/main" id="{9426F9A3-BB86-44A6-9F39-B7E63AE3B559}"/>
              </a:ext>
            </a:extLst>
          </p:cNvPr>
          <p:cNvGraphicFramePr>
            <a:graphicFrameLocks noGrp="1"/>
          </p:cNvGraphicFramePr>
          <p:nvPr>
            <p:extLst>
              <p:ext uri="{D42A27DB-BD31-4B8C-83A1-F6EECF244321}">
                <p14:modId xmlns:p14="http://schemas.microsoft.com/office/powerpoint/2010/main" val="1081789825"/>
              </p:ext>
            </p:extLst>
          </p:nvPr>
        </p:nvGraphicFramePr>
        <p:xfrm>
          <a:off x="4040484" y="3429000"/>
          <a:ext cx="3086100" cy="2926080"/>
        </p:xfrm>
        <a:graphic>
          <a:graphicData uri="http://schemas.openxmlformats.org/drawingml/2006/table">
            <a:tbl>
              <a:tblPr/>
              <a:tblGrid>
                <a:gridCol w="342900">
                  <a:extLst>
                    <a:ext uri="{9D8B030D-6E8A-4147-A177-3AD203B41FA5}">
                      <a16:colId xmlns:a16="http://schemas.microsoft.com/office/drawing/2014/main" val="1925098379"/>
                    </a:ext>
                  </a:extLst>
                </a:gridCol>
                <a:gridCol w="342900">
                  <a:extLst>
                    <a:ext uri="{9D8B030D-6E8A-4147-A177-3AD203B41FA5}">
                      <a16:colId xmlns:a16="http://schemas.microsoft.com/office/drawing/2014/main" val="2544752543"/>
                    </a:ext>
                  </a:extLst>
                </a:gridCol>
                <a:gridCol w="342900">
                  <a:extLst>
                    <a:ext uri="{9D8B030D-6E8A-4147-A177-3AD203B41FA5}">
                      <a16:colId xmlns:a16="http://schemas.microsoft.com/office/drawing/2014/main" val="4078315234"/>
                    </a:ext>
                  </a:extLst>
                </a:gridCol>
                <a:gridCol w="342900">
                  <a:extLst>
                    <a:ext uri="{9D8B030D-6E8A-4147-A177-3AD203B41FA5}">
                      <a16:colId xmlns:a16="http://schemas.microsoft.com/office/drawing/2014/main" val="4137291646"/>
                    </a:ext>
                  </a:extLst>
                </a:gridCol>
                <a:gridCol w="342900">
                  <a:extLst>
                    <a:ext uri="{9D8B030D-6E8A-4147-A177-3AD203B41FA5}">
                      <a16:colId xmlns:a16="http://schemas.microsoft.com/office/drawing/2014/main" val="1768333358"/>
                    </a:ext>
                  </a:extLst>
                </a:gridCol>
                <a:gridCol w="342900">
                  <a:extLst>
                    <a:ext uri="{9D8B030D-6E8A-4147-A177-3AD203B41FA5}">
                      <a16:colId xmlns:a16="http://schemas.microsoft.com/office/drawing/2014/main" val="1825433049"/>
                    </a:ext>
                  </a:extLst>
                </a:gridCol>
                <a:gridCol w="342900">
                  <a:extLst>
                    <a:ext uri="{9D8B030D-6E8A-4147-A177-3AD203B41FA5}">
                      <a16:colId xmlns:a16="http://schemas.microsoft.com/office/drawing/2014/main" val="1960841206"/>
                    </a:ext>
                  </a:extLst>
                </a:gridCol>
                <a:gridCol w="342900">
                  <a:extLst>
                    <a:ext uri="{9D8B030D-6E8A-4147-A177-3AD203B41FA5}">
                      <a16:colId xmlns:a16="http://schemas.microsoft.com/office/drawing/2014/main" val="3204926091"/>
                    </a:ext>
                  </a:extLst>
                </a:gridCol>
                <a:gridCol w="342900">
                  <a:extLst>
                    <a:ext uri="{9D8B030D-6E8A-4147-A177-3AD203B41FA5}">
                      <a16:colId xmlns:a16="http://schemas.microsoft.com/office/drawing/2014/main" val="242088494"/>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842700"/>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40139784"/>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07971500"/>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139131838"/>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17317703"/>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02303004"/>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4584174"/>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5098139"/>
                  </a:ext>
                </a:extLst>
              </a:tr>
            </a:tbl>
          </a:graphicData>
        </a:graphic>
      </p:graphicFrame>
      <p:sp>
        <p:nvSpPr>
          <p:cNvPr id="9" name="TextBox 8">
            <a:extLst>
              <a:ext uri="{FF2B5EF4-FFF2-40B4-BE49-F238E27FC236}">
                <a16:creationId xmlns:a16="http://schemas.microsoft.com/office/drawing/2014/main" id="{5B662AEF-822D-4A8D-9A72-3CF6DB93FC4F}"/>
              </a:ext>
            </a:extLst>
          </p:cNvPr>
          <p:cNvSpPr txBox="1"/>
          <p:nvPr/>
        </p:nvSpPr>
        <p:spPr>
          <a:xfrm>
            <a:off x="4894969" y="3200846"/>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sp>
        <p:nvSpPr>
          <p:cNvPr id="10" name="TextBox 9">
            <a:extLst>
              <a:ext uri="{FF2B5EF4-FFF2-40B4-BE49-F238E27FC236}">
                <a16:creationId xmlns:a16="http://schemas.microsoft.com/office/drawing/2014/main" id="{8B1EEFBF-1128-4619-86A2-6DD26BADE4D5}"/>
              </a:ext>
            </a:extLst>
          </p:cNvPr>
          <p:cNvSpPr txBox="1"/>
          <p:nvPr/>
        </p:nvSpPr>
        <p:spPr>
          <a:xfrm rot="16200000">
            <a:off x="3237843" y="4777962"/>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Tree>
    <p:extLst>
      <p:ext uri="{BB962C8B-B14F-4D97-AF65-F5344CB8AC3E}">
        <p14:creationId xmlns:p14="http://schemas.microsoft.com/office/powerpoint/2010/main" val="1831348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TW with </a:t>
            </a:r>
            <a:r>
              <a:rPr lang="en-US" err="1"/>
              <a:t>Sakoe</a:t>
            </a:r>
            <a:r>
              <a:rPr lang="en-US"/>
              <a:t>-Chiba Band</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Same Problem, Different Approach</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29</a:t>
            </a:fld>
            <a:endParaRPr lang="en-US"/>
          </a:p>
        </p:txBody>
      </p:sp>
      <p:graphicFrame>
        <p:nvGraphicFramePr>
          <p:cNvPr id="9" name="Table 8">
            <a:extLst>
              <a:ext uri="{FF2B5EF4-FFF2-40B4-BE49-F238E27FC236}">
                <a16:creationId xmlns:a16="http://schemas.microsoft.com/office/drawing/2014/main" id="{C6323B04-4DA5-43A1-9184-A1E55E6AEA38}"/>
              </a:ext>
            </a:extLst>
          </p:cNvPr>
          <p:cNvGraphicFramePr>
            <a:graphicFrameLocks noGrp="1"/>
          </p:cNvGraphicFramePr>
          <p:nvPr>
            <p:extLst>
              <p:ext uri="{D42A27DB-BD31-4B8C-83A1-F6EECF244321}">
                <p14:modId xmlns:p14="http://schemas.microsoft.com/office/powerpoint/2010/main" val="817531049"/>
              </p:ext>
            </p:extLst>
          </p:nvPr>
        </p:nvGraphicFramePr>
        <p:xfrm>
          <a:off x="4041673" y="204929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12" name="TextBox 11">
            <a:extLst>
              <a:ext uri="{FF2B5EF4-FFF2-40B4-BE49-F238E27FC236}">
                <a16:creationId xmlns:a16="http://schemas.microsoft.com/office/drawing/2014/main" id="{F57503C4-F03D-4AF3-8104-47A1831318D8}"/>
              </a:ext>
            </a:extLst>
          </p:cNvPr>
          <p:cNvSpPr txBox="1"/>
          <p:nvPr/>
        </p:nvSpPr>
        <p:spPr>
          <a:xfrm rot="16200000">
            <a:off x="3195179" y="373653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13" name="TextBox 12">
            <a:extLst>
              <a:ext uri="{FF2B5EF4-FFF2-40B4-BE49-F238E27FC236}">
                <a16:creationId xmlns:a16="http://schemas.microsoft.com/office/drawing/2014/main" id="{9AE62554-69FF-43BF-97F5-88371A2CB4A4}"/>
              </a:ext>
            </a:extLst>
          </p:cNvPr>
          <p:cNvSpPr txBox="1"/>
          <p:nvPr/>
        </p:nvSpPr>
        <p:spPr>
          <a:xfrm>
            <a:off x="4896158" y="182114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7" name="Straight Arrow Connector 16">
            <a:extLst>
              <a:ext uri="{FF2B5EF4-FFF2-40B4-BE49-F238E27FC236}">
                <a16:creationId xmlns:a16="http://schemas.microsoft.com/office/drawing/2014/main" id="{A1119CB2-ADC5-40CB-B15A-CD9E8FA60E63}"/>
              </a:ext>
            </a:extLst>
          </p:cNvPr>
          <p:cNvCxnSpPr>
            <a:cxnSpLocks/>
          </p:cNvCxnSpPr>
          <p:nvPr/>
        </p:nvCxnSpPr>
        <p:spPr>
          <a:xfrm flipH="1" flipV="1">
            <a:off x="4591666" y="264124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DC3F86E-709B-4581-BB01-B3EF10F18A53}"/>
              </a:ext>
            </a:extLst>
          </p:cNvPr>
          <p:cNvCxnSpPr>
            <a:cxnSpLocks/>
          </p:cNvCxnSpPr>
          <p:nvPr/>
        </p:nvCxnSpPr>
        <p:spPr>
          <a:xfrm flipH="1">
            <a:off x="4994788"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43D6DC2-59E5-45A9-A77F-F3B736DE3C15}"/>
              </a:ext>
            </a:extLst>
          </p:cNvPr>
          <p:cNvCxnSpPr>
            <a:cxnSpLocks/>
          </p:cNvCxnSpPr>
          <p:nvPr/>
        </p:nvCxnSpPr>
        <p:spPr>
          <a:xfrm flipH="1">
            <a:off x="5275008" y="297554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CEA6CC8-F01C-4388-B9CA-E1D415C675F7}"/>
              </a:ext>
            </a:extLst>
          </p:cNvPr>
          <p:cNvCxnSpPr>
            <a:cxnSpLocks/>
          </p:cNvCxnSpPr>
          <p:nvPr/>
        </p:nvCxnSpPr>
        <p:spPr>
          <a:xfrm flipV="1">
            <a:off x="4896158" y="305419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6EAC717-E0BB-4A3F-9EA0-F7675695CC83}"/>
              </a:ext>
            </a:extLst>
          </p:cNvPr>
          <p:cNvCxnSpPr>
            <a:cxnSpLocks/>
          </p:cNvCxnSpPr>
          <p:nvPr/>
        </p:nvCxnSpPr>
        <p:spPr>
          <a:xfrm flipV="1">
            <a:off x="5225538" y="3053890"/>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60A593D-F5F6-4807-A22A-5DB20E03F14E}"/>
              </a:ext>
            </a:extLst>
          </p:cNvPr>
          <p:cNvCxnSpPr>
            <a:cxnSpLocks/>
          </p:cNvCxnSpPr>
          <p:nvPr/>
        </p:nvCxnSpPr>
        <p:spPr>
          <a:xfrm flipH="1" flipV="1">
            <a:off x="5276238" y="3039447"/>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C0ECEE6-8A50-4EB0-811F-C44628FA6E13}"/>
              </a:ext>
            </a:extLst>
          </p:cNvPr>
          <p:cNvCxnSpPr>
            <a:cxnSpLocks/>
          </p:cNvCxnSpPr>
          <p:nvPr/>
        </p:nvCxnSpPr>
        <p:spPr>
          <a:xfrm flipH="1" flipV="1">
            <a:off x="5584722" y="302405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9F96511-8268-4E76-A061-4B1D43D7C704}"/>
              </a:ext>
            </a:extLst>
          </p:cNvPr>
          <p:cNvCxnSpPr>
            <a:cxnSpLocks/>
          </p:cNvCxnSpPr>
          <p:nvPr/>
        </p:nvCxnSpPr>
        <p:spPr>
          <a:xfrm flipV="1">
            <a:off x="5584722"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34EF9833-1249-4254-9AF5-149BC03DBDF5}"/>
              </a:ext>
            </a:extLst>
          </p:cNvPr>
          <p:cNvCxnSpPr>
            <a:cxnSpLocks/>
          </p:cNvCxnSpPr>
          <p:nvPr/>
        </p:nvCxnSpPr>
        <p:spPr>
          <a:xfrm flipV="1">
            <a:off x="5933767"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FA52A9C4-73B7-4BE4-8AD8-2225F9DCFBD3}"/>
              </a:ext>
            </a:extLst>
          </p:cNvPr>
          <p:cNvCxnSpPr>
            <a:cxnSpLocks/>
          </p:cNvCxnSpPr>
          <p:nvPr/>
        </p:nvCxnSpPr>
        <p:spPr>
          <a:xfrm flipH="1" flipV="1">
            <a:off x="5984466" y="338451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7B21D65-2947-4F0D-8534-7911E4B6C69C}"/>
              </a:ext>
            </a:extLst>
          </p:cNvPr>
          <p:cNvCxnSpPr>
            <a:cxnSpLocks/>
          </p:cNvCxnSpPr>
          <p:nvPr/>
        </p:nvCxnSpPr>
        <p:spPr>
          <a:xfrm flipV="1">
            <a:off x="5584722" y="377195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AA6F7632-ABCE-4CC6-BBE6-19143554C032}"/>
              </a:ext>
            </a:extLst>
          </p:cNvPr>
          <p:cNvCxnSpPr>
            <a:cxnSpLocks/>
          </p:cNvCxnSpPr>
          <p:nvPr/>
        </p:nvCxnSpPr>
        <p:spPr>
          <a:xfrm flipH="1" flipV="1">
            <a:off x="5646791" y="3739391"/>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329738C-C55D-46E8-AC70-641786F35C22}"/>
              </a:ext>
            </a:extLst>
          </p:cNvPr>
          <p:cNvCxnSpPr>
            <a:cxnSpLocks/>
          </p:cNvCxnSpPr>
          <p:nvPr/>
        </p:nvCxnSpPr>
        <p:spPr>
          <a:xfrm flipV="1">
            <a:off x="6273287" y="3768887"/>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C9B1258-1DFF-4BD0-B742-20CCE57CAC9D}"/>
              </a:ext>
            </a:extLst>
          </p:cNvPr>
          <p:cNvCxnSpPr>
            <a:cxnSpLocks/>
          </p:cNvCxnSpPr>
          <p:nvPr/>
        </p:nvCxnSpPr>
        <p:spPr>
          <a:xfrm flipH="1" flipV="1">
            <a:off x="6346725" y="377874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B3DB26A-955F-4D9E-90B5-C351CC7B71AC}"/>
              </a:ext>
            </a:extLst>
          </p:cNvPr>
          <p:cNvCxnSpPr>
            <a:cxnSpLocks/>
          </p:cNvCxnSpPr>
          <p:nvPr/>
        </p:nvCxnSpPr>
        <p:spPr>
          <a:xfrm flipH="1" flipV="1">
            <a:off x="5678129" y="4117906"/>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B5F14D0-C835-4212-9555-48708E77D300}"/>
              </a:ext>
            </a:extLst>
          </p:cNvPr>
          <p:cNvCxnSpPr>
            <a:cxnSpLocks/>
          </p:cNvCxnSpPr>
          <p:nvPr/>
        </p:nvCxnSpPr>
        <p:spPr>
          <a:xfrm flipV="1">
            <a:off x="6263455" y="4137570"/>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4036238-4392-422D-944D-0420CBCF3234}"/>
              </a:ext>
            </a:extLst>
          </p:cNvPr>
          <p:cNvCxnSpPr>
            <a:cxnSpLocks/>
          </p:cNvCxnSpPr>
          <p:nvPr/>
        </p:nvCxnSpPr>
        <p:spPr>
          <a:xfrm flipV="1">
            <a:off x="6597753" y="4134477"/>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C2006B2-2DBC-4A40-AD84-1C80FF7D9405}"/>
              </a:ext>
            </a:extLst>
          </p:cNvPr>
          <p:cNvCxnSpPr>
            <a:cxnSpLocks/>
          </p:cNvCxnSpPr>
          <p:nvPr/>
        </p:nvCxnSpPr>
        <p:spPr>
          <a:xfrm flipH="1" flipV="1">
            <a:off x="6685847" y="412680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2DE0BF2-06C3-4C05-90B4-78475DE2A35D}"/>
              </a:ext>
            </a:extLst>
          </p:cNvPr>
          <p:cNvCxnSpPr>
            <a:cxnSpLocks/>
          </p:cNvCxnSpPr>
          <p:nvPr/>
        </p:nvCxnSpPr>
        <p:spPr>
          <a:xfrm flipV="1">
            <a:off x="6258844" y="4499842"/>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FA2DB40-A8F9-4453-A1F3-DB957218555C}"/>
              </a:ext>
            </a:extLst>
          </p:cNvPr>
          <p:cNvCxnSpPr>
            <a:cxnSpLocks/>
          </p:cNvCxnSpPr>
          <p:nvPr/>
        </p:nvCxnSpPr>
        <p:spPr>
          <a:xfrm flipH="1">
            <a:off x="6336892" y="4799423"/>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9D8B671B-CAF0-4806-8ED8-68390B051ED7}"/>
              </a:ext>
            </a:extLst>
          </p:cNvPr>
          <p:cNvCxnSpPr>
            <a:cxnSpLocks/>
          </p:cNvCxnSpPr>
          <p:nvPr/>
        </p:nvCxnSpPr>
        <p:spPr>
          <a:xfrm flipV="1">
            <a:off x="6956322" y="449984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85B5269-315B-4B8B-AF6B-65C54365C8A5}"/>
              </a:ext>
            </a:extLst>
          </p:cNvPr>
          <p:cNvSpPr/>
          <p:nvPr/>
        </p:nvSpPr>
        <p:spPr>
          <a:xfrm>
            <a:off x="7472517" y="4449149"/>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Find the warp path with optimal distance that starts from here</a:t>
            </a:r>
            <a:endParaRPr lang="en-ID" sz="1000" noProof="0">
              <a:solidFill>
                <a:schemeClr val="tx1"/>
              </a:solidFill>
            </a:endParaRPr>
          </a:p>
        </p:txBody>
      </p:sp>
      <p:sp>
        <p:nvSpPr>
          <p:cNvPr id="65" name="Rectangle 64">
            <a:extLst>
              <a:ext uri="{FF2B5EF4-FFF2-40B4-BE49-F238E27FC236}">
                <a16:creationId xmlns:a16="http://schemas.microsoft.com/office/drawing/2014/main" id="{3FEB6231-BFFC-4B19-B877-89A761CDFCAE}"/>
              </a:ext>
            </a:extLst>
          </p:cNvPr>
          <p:cNvSpPr/>
          <p:nvPr/>
        </p:nvSpPr>
        <p:spPr>
          <a:xfrm>
            <a:off x="2674989" y="2042673"/>
            <a:ext cx="1366684" cy="700548"/>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r>
              <a:rPr lang="en-US" sz="1000" noProof="0">
                <a:solidFill>
                  <a:schemeClr val="tx1"/>
                </a:solidFill>
              </a:rPr>
              <a:t>And always end here</a:t>
            </a:r>
            <a:endParaRPr lang="en-ID" sz="1000" noProof="0">
              <a:solidFill>
                <a:schemeClr val="tx1"/>
              </a:solidFill>
            </a:endParaRPr>
          </a:p>
        </p:txBody>
      </p:sp>
      <p:cxnSp>
        <p:nvCxnSpPr>
          <p:cNvPr id="67" name="Straight Arrow Connector 66">
            <a:extLst>
              <a:ext uri="{FF2B5EF4-FFF2-40B4-BE49-F238E27FC236}">
                <a16:creationId xmlns:a16="http://schemas.microsoft.com/office/drawing/2014/main" id="{B8007498-EF9B-4E69-A021-28D27EBD3EDF}"/>
              </a:ext>
            </a:extLst>
          </p:cNvPr>
          <p:cNvCxnSpPr>
            <a:stCxn id="65" idx="3"/>
          </p:cNvCxnSpPr>
          <p:nvPr/>
        </p:nvCxnSpPr>
        <p:spPr>
          <a:xfrm>
            <a:off x="4041673" y="2392947"/>
            <a:ext cx="343514" cy="24829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FED50D4-28A4-43A1-9CD8-5A3066603E0B}"/>
              </a:ext>
            </a:extLst>
          </p:cNvPr>
          <p:cNvCxnSpPr>
            <a:stCxn id="11" idx="1"/>
          </p:cNvCxnSpPr>
          <p:nvPr/>
        </p:nvCxnSpPr>
        <p:spPr>
          <a:xfrm flipH="1">
            <a:off x="7127773" y="4799423"/>
            <a:ext cx="344744"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57AB151-72F4-4096-8D30-43A976B42FFA}"/>
              </a:ext>
            </a:extLst>
          </p:cNvPr>
          <p:cNvCxnSpPr>
            <a:cxnSpLocks/>
          </p:cNvCxnSpPr>
          <p:nvPr/>
        </p:nvCxnSpPr>
        <p:spPr>
          <a:xfrm flipV="1">
            <a:off x="5220315" y="3406568"/>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187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844170-8BA4-4439-A44D-773ED5F3F837}"/>
              </a:ext>
            </a:extLst>
          </p:cNvPr>
          <p:cNvSpPr>
            <a:spLocks noGrp="1"/>
          </p:cNvSpPr>
          <p:nvPr>
            <p:ph type="title"/>
          </p:nvPr>
        </p:nvSpPr>
        <p:spPr>
          <a:xfrm>
            <a:off x="1260297" y="833382"/>
            <a:ext cx="4952999" cy="3759167"/>
          </a:xfrm>
        </p:spPr>
        <p:txBody>
          <a:bodyPr/>
          <a:lstStyle/>
          <a:p>
            <a:r>
              <a:rPr lang="en-US" sz="4000"/>
              <a:t>Accenture is a global professional services company with leading capabilities in digital, cloud and security</a:t>
            </a:r>
          </a:p>
        </p:txBody>
      </p:sp>
      <p:pic>
        <p:nvPicPr>
          <p:cNvPr id="6" name="Picture Placeholder 5">
            <a:extLst>
              <a:ext uri="{FF2B5EF4-FFF2-40B4-BE49-F238E27FC236}">
                <a16:creationId xmlns:a16="http://schemas.microsoft.com/office/drawing/2014/main" id="{6CF3C66F-42F4-45A7-97F0-04BD045D16CF}"/>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a:prstGeom prst="rect">
            <a:avLst/>
          </a:prstGeom>
        </p:spPr>
      </p:pic>
      <p:sp>
        <p:nvSpPr>
          <p:cNvPr id="4" name="Footer Placeholder 3">
            <a:extLst>
              <a:ext uri="{FF2B5EF4-FFF2-40B4-BE49-F238E27FC236}">
                <a16:creationId xmlns:a16="http://schemas.microsoft.com/office/drawing/2014/main" id="{70322393-D936-4143-9D06-B7D56592BD97}"/>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36E56709-DAB5-4869-B57D-FCAA30BCB0C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sp>
        <p:nvSpPr>
          <p:cNvPr id="7" name="TextBox 6">
            <a:extLst>
              <a:ext uri="{FF2B5EF4-FFF2-40B4-BE49-F238E27FC236}">
                <a16:creationId xmlns:a16="http://schemas.microsoft.com/office/drawing/2014/main" id="{1190F82B-D8C9-4327-98CE-3442264907C0}"/>
              </a:ext>
            </a:extLst>
          </p:cNvPr>
          <p:cNvSpPr txBox="1"/>
          <p:nvPr/>
        </p:nvSpPr>
        <p:spPr>
          <a:xfrm>
            <a:off x="7233007" y="4368343"/>
            <a:ext cx="3698696" cy="1549572"/>
          </a:xfrm>
          <a:prstGeom prst="rect">
            <a:avLst/>
          </a:prstGeom>
          <a:noFill/>
        </p:spPr>
        <p:txBody>
          <a:bodyPr wrap="square" lIns="0" tIns="0" rIns="0" bIns="0" rtlCol="0">
            <a:noAutofit/>
          </a:bodyPr>
          <a:lstStyle/>
          <a:p>
            <a:pPr algn="ctr" defTabSz="228600">
              <a:spcAft>
                <a:spcPts val="1200"/>
              </a:spcAft>
            </a:pPr>
            <a:r>
              <a:rPr lang="en-US" b="1" noProof="0">
                <a:solidFill>
                  <a:schemeClr val="bg1"/>
                </a:solidFill>
              </a:rPr>
              <a:t>Our purpose</a:t>
            </a:r>
          </a:p>
          <a:p>
            <a:pPr algn="ctr" defTabSz="228600">
              <a:spcAft>
                <a:spcPts val="1200"/>
              </a:spcAft>
            </a:pPr>
            <a:r>
              <a:rPr lang="en-US" b="1">
                <a:solidFill>
                  <a:schemeClr val="bg1"/>
                </a:solidFill>
              </a:rPr>
              <a:t>To deliver on the promise of technology and human ingenuity </a:t>
            </a:r>
            <a:endParaRPr lang="en-US" b="1" noProof="0">
              <a:solidFill>
                <a:schemeClr val="bg1"/>
              </a:solidFill>
            </a:endParaRPr>
          </a:p>
        </p:txBody>
      </p:sp>
    </p:spTree>
    <p:extLst>
      <p:ext uri="{BB962C8B-B14F-4D97-AF65-F5344CB8AC3E}">
        <p14:creationId xmlns:p14="http://schemas.microsoft.com/office/powerpoint/2010/main" val="3167976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FAD48-DCA9-46D4-9D18-D751F4D3888F}"/>
              </a:ext>
            </a:extLst>
          </p:cNvPr>
          <p:cNvSpPr>
            <a:spLocks noGrp="1"/>
          </p:cNvSpPr>
          <p:nvPr>
            <p:ph type="title"/>
          </p:nvPr>
        </p:nvSpPr>
        <p:spPr/>
        <p:txBody>
          <a:bodyPr/>
          <a:lstStyle/>
          <a:p>
            <a:r>
              <a:rPr lang="en-US"/>
              <a:t>DTW vs DTW with </a:t>
            </a:r>
            <a:r>
              <a:rPr lang="en-US" err="1"/>
              <a:t>Sakoe</a:t>
            </a:r>
            <a:r>
              <a:rPr lang="en-US"/>
              <a:t>-Chiba Band</a:t>
            </a:r>
            <a:endParaRPr lang="en-ID"/>
          </a:p>
        </p:txBody>
      </p:sp>
      <p:sp>
        <p:nvSpPr>
          <p:cNvPr id="3" name="Content Placeholder 2">
            <a:extLst>
              <a:ext uri="{FF2B5EF4-FFF2-40B4-BE49-F238E27FC236}">
                <a16:creationId xmlns:a16="http://schemas.microsoft.com/office/drawing/2014/main" id="{F598E958-DD46-4D8B-9826-A1F562AAAEE1}"/>
              </a:ext>
            </a:extLst>
          </p:cNvPr>
          <p:cNvSpPr>
            <a:spLocks noGrp="1"/>
          </p:cNvSpPr>
          <p:nvPr>
            <p:ph sz="quarter" idx="10"/>
          </p:nvPr>
        </p:nvSpPr>
        <p:spPr/>
        <p:txBody>
          <a:bodyPr/>
          <a:lstStyle/>
          <a:p>
            <a:endParaRPr lang="en-ID"/>
          </a:p>
        </p:txBody>
      </p:sp>
      <p:sp>
        <p:nvSpPr>
          <p:cNvPr id="4" name="Text Placeholder 3">
            <a:extLst>
              <a:ext uri="{FF2B5EF4-FFF2-40B4-BE49-F238E27FC236}">
                <a16:creationId xmlns:a16="http://schemas.microsoft.com/office/drawing/2014/main" id="{0CBE689D-202B-4BB6-85D9-3F89875F7C33}"/>
              </a:ext>
            </a:extLst>
          </p:cNvPr>
          <p:cNvSpPr>
            <a:spLocks noGrp="1"/>
          </p:cNvSpPr>
          <p:nvPr>
            <p:ph type="body" sz="quarter" idx="11"/>
          </p:nvPr>
        </p:nvSpPr>
        <p:spPr/>
        <p:txBody>
          <a:bodyPr/>
          <a:lstStyle/>
          <a:p>
            <a:r>
              <a:rPr lang="en-US"/>
              <a:t>Comparison</a:t>
            </a:r>
            <a:endParaRPr lang="en-ID"/>
          </a:p>
        </p:txBody>
      </p:sp>
      <p:sp>
        <p:nvSpPr>
          <p:cNvPr id="5" name="Footer Placeholder 4">
            <a:extLst>
              <a:ext uri="{FF2B5EF4-FFF2-40B4-BE49-F238E27FC236}">
                <a16:creationId xmlns:a16="http://schemas.microsoft.com/office/drawing/2014/main" id="{F23B6AD1-E277-4555-8090-1307E79BDDB6}"/>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3313631B-CBE4-4FBA-8821-5CDFB0C8D584}"/>
              </a:ext>
            </a:extLst>
          </p:cNvPr>
          <p:cNvSpPr>
            <a:spLocks noGrp="1"/>
          </p:cNvSpPr>
          <p:nvPr>
            <p:ph type="sldNum" sz="quarter" idx="12"/>
          </p:nvPr>
        </p:nvSpPr>
        <p:spPr/>
        <p:txBody>
          <a:bodyPr/>
          <a:lstStyle/>
          <a:p>
            <a:fld id="{1F90F471-3972-4120-B8B3-0237DE626C35}" type="slidenum">
              <a:rPr lang="en-US" smtClean="0"/>
              <a:pPr/>
              <a:t>30</a:t>
            </a:fld>
            <a:endParaRPr lang="en-US"/>
          </a:p>
        </p:txBody>
      </p:sp>
      <p:graphicFrame>
        <p:nvGraphicFramePr>
          <p:cNvPr id="7" name="Table 6">
            <a:extLst>
              <a:ext uri="{FF2B5EF4-FFF2-40B4-BE49-F238E27FC236}">
                <a16:creationId xmlns:a16="http://schemas.microsoft.com/office/drawing/2014/main" id="{E81A9EF1-ED21-495B-A20A-19667D22E21A}"/>
              </a:ext>
            </a:extLst>
          </p:cNvPr>
          <p:cNvGraphicFramePr>
            <a:graphicFrameLocks noGrp="1"/>
          </p:cNvGraphicFramePr>
          <p:nvPr>
            <p:extLst>
              <p:ext uri="{D42A27DB-BD31-4B8C-83A1-F6EECF244321}">
                <p14:modId xmlns:p14="http://schemas.microsoft.com/office/powerpoint/2010/main" val="2874846612"/>
              </p:ext>
            </p:extLst>
          </p:nvPr>
        </p:nvGraphicFramePr>
        <p:xfrm>
          <a:off x="6775040" y="274738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D" sz="1100" b="1"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8" name="TextBox 7">
            <a:extLst>
              <a:ext uri="{FF2B5EF4-FFF2-40B4-BE49-F238E27FC236}">
                <a16:creationId xmlns:a16="http://schemas.microsoft.com/office/drawing/2014/main" id="{32569A93-7E91-46C3-9DE4-6A2B5AD27DC4}"/>
              </a:ext>
            </a:extLst>
          </p:cNvPr>
          <p:cNvSpPr txBox="1"/>
          <p:nvPr/>
        </p:nvSpPr>
        <p:spPr>
          <a:xfrm rot="16200000">
            <a:off x="5928546" y="443462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9" name="TextBox 8">
            <a:extLst>
              <a:ext uri="{FF2B5EF4-FFF2-40B4-BE49-F238E27FC236}">
                <a16:creationId xmlns:a16="http://schemas.microsoft.com/office/drawing/2014/main" id="{4FFBF4FD-090C-457E-B996-03515396DFF3}"/>
              </a:ext>
            </a:extLst>
          </p:cNvPr>
          <p:cNvSpPr txBox="1"/>
          <p:nvPr/>
        </p:nvSpPr>
        <p:spPr>
          <a:xfrm>
            <a:off x="7629525" y="251923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10" name="Straight Arrow Connector 9">
            <a:extLst>
              <a:ext uri="{FF2B5EF4-FFF2-40B4-BE49-F238E27FC236}">
                <a16:creationId xmlns:a16="http://schemas.microsoft.com/office/drawing/2014/main" id="{C3389168-FF7A-49C0-92FC-476ECE75CD3B}"/>
              </a:ext>
            </a:extLst>
          </p:cNvPr>
          <p:cNvCxnSpPr>
            <a:cxnSpLocks/>
          </p:cNvCxnSpPr>
          <p:nvPr/>
        </p:nvCxnSpPr>
        <p:spPr>
          <a:xfrm flipH="1" flipV="1">
            <a:off x="7325033" y="333933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DB1128B-52D4-4504-958C-15DFADD26D35}"/>
              </a:ext>
            </a:extLst>
          </p:cNvPr>
          <p:cNvCxnSpPr>
            <a:cxnSpLocks/>
          </p:cNvCxnSpPr>
          <p:nvPr/>
        </p:nvCxnSpPr>
        <p:spPr>
          <a:xfrm flipH="1">
            <a:off x="7728155" y="367363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FAC378D-2513-4B10-9873-7AB45369AE78}"/>
              </a:ext>
            </a:extLst>
          </p:cNvPr>
          <p:cNvCxnSpPr>
            <a:cxnSpLocks/>
          </p:cNvCxnSpPr>
          <p:nvPr/>
        </p:nvCxnSpPr>
        <p:spPr>
          <a:xfrm flipH="1">
            <a:off x="8008375" y="3673630"/>
            <a:ext cx="17698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FA1D382-01B6-4FD0-B012-4DAB6B6C8C46}"/>
              </a:ext>
            </a:extLst>
          </p:cNvPr>
          <p:cNvCxnSpPr>
            <a:cxnSpLocks/>
          </p:cNvCxnSpPr>
          <p:nvPr/>
        </p:nvCxnSpPr>
        <p:spPr>
          <a:xfrm flipV="1">
            <a:off x="7629525" y="375228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CDF3A3D-98BE-48FC-8847-E09CF9ACA4C4}"/>
              </a:ext>
            </a:extLst>
          </p:cNvPr>
          <p:cNvCxnSpPr>
            <a:cxnSpLocks/>
          </p:cNvCxnSpPr>
          <p:nvPr/>
        </p:nvCxnSpPr>
        <p:spPr>
          <a:xfrm flipV="1">
            <a:off x="7958905" y="375198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F246D3CE-9607-4F35-967E-FFF7909C3367}"/>
              </a:ext>
            </a:extLst>
          </p:cNvPr>
          <p:cNvCxnSpPr>
            <a:cxnSpLocks/>
          </p:cNvCxnSpPr>
          <p:nvPr/>
        </p:nvCxnSpPr>
        <p:spPr>
          <a:xfrm flipH="1" flipV="1">
            <a:off x="8009605" y="3737537"/>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92E8A0F-D210-49CF-9C61-649011C84992}"/>
              </a:ext>
            </a:extLst>
          </p:cNvPr>
          <p:cNvCxnSpPr>
            <a:cxnSpLocks/>
          </p:cNvCxnSpPr>
          <p:nvPr/>
        </p:nvCxnSpPr>
        <p:spPr>
          <a:xfrm flipH="1" flipV="1">
            <a:off x="8318089" y="372214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974AC83-428F-4669-8D62-0EC9BF779571}"/>
              </a:ext>
            </a:extLst>
          </p:cNvPr>
          <p:cNvCxnSpPr>
            <a:cxnSpLocks/>
          </p:cNvCxnSpPr>
          <p:nvPr/>
        </p:nvCxnSpPr>
        <p:spPr>
          <a:xfrm flipV="1">
            <a:off x="8318089"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1692B00-2769-4A90-8543-5D92D79075BD}"/>
              </a:ext>
            </a:extLst>
          </p:cNvPr>
          <p:cNvCxnSpPr>
            <a:cxnSpLocks/>
          </p:cNvCxnSpPr>
          <p:nvPr/>
        </p:nvCxnSpPr>
        <p:spPr>
          <a:xfrm flipV="1">
            <a:off x="8667134"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8527B75-9238-4EB9-9488-5AFB8ABEC9B2}"/>
              </a:ext>
            </a:extLst>
          </p:cNvPr>
          <p:cNvCxnSpPr>
            <a:cxnSpLocks/>
          </p:cNvCxnSpPr>
          <p:nvPr/>
        </p:nvCxnSpPr>
        <p:spPr>
          <a:xfrm flipH="1" flipV="1">
            <a:off x="8717833" y="408260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E5678C2-CAE0-468A-8FB2-82D5231D3406}"/>
              </a:ext>
            </a:extLst>
          </p:cNvPr>
          <p:cNvCxnSpPr>
            <a:cxnSpLocks/>
          </p:cNvCxnSpPr>
          <p:nvPr/>
        </p:nvCxnSpPr>
        <p:spPr>
          <a:xfrm flipV="1">
            <a:off x="8318089" y="447004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0494B54-9664-46B2-AD97-1FA502C09C0D}"/>
              </a:ext>
            </a:extLst>
          </p:cNvPr>
          <p:cNvCxnSpPr>
            <a:cxnSpLocks/>
          </p:cNvCxnSpPr>
          <p:nvPr/>
        </p:nvCxnSpPr>
        <p:spPr>
          <a:xfrm flipH="1" flipV="1">
            <a:off x="8380158" y="4437481"/>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A68A673-7EC1-4C0A-ACAC-CDD52C1DC795}"/>
              </a:ext>
            </a:extLst>
          </p:cNvPr>
          <p:cNvCxnSpPr>
            <a:cxnSpLocks/>
          </p:cNvCxnSpPr>
          <p:nvPr/>
        </p:nvCxnSpPr>
        <p:spPr>
          <a:xfrm flipV="1">
            <a:off x="9006654" y="446697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CBAC74F-32E0-4E3A-80B0-AA3E0463680A}"/>
              </a:ext>
            </a:extLst>
          </p:cNvPr>
          <p:cNvCxnSpPr>
            <a:cxnSpLocks/>
          </p:cNvCxnSpPr>
          <p:nvPr/>
        </p:nvCxnSpPr>
        <p:spPr>
          <a:xfrm flipH="1" flipV="1">
            <a:off x="9080092" y="4476833"/>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BD8004B-FE19-4965-978E-FB32364E3CDF}"/>
              </a:ext>
            </a:extLst>
          </p:cNvPr>
          <p:cNvCxnSpPr>
            <a:cxnSpLocks/>
          </p:cNvCxnSpPr>
          <p:nvPr/>
        </p:nvCxnSpPr>
        <p:spPr>
          <a:xfrm flipH="1" flipV="1">
            <a:off x="8411496" y="481599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E019F67-5310-4C7D-8238-D82AD006E13F}"/>
              </a:ext>
            </a:extLst>
          </p:cNvPr>
          <p:cNvCxnSpPr>
            <a:cxnSpLocks/>
          </p:cNvCxnSpPr>
          <p:nvPr/>
        </p:nvCxnSpPr>
        <p:spPr>
          <a:xfrm flipV="1">
            <a:off x="8996822" y="483566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1F348FB5-CDA9-4831-9ABD-B23976AC8CD8}"/>
              </a:ext>
            </a:extLst>
          </p:cNvPr>
          <p:cNvCxnSpPr>
            <a:cxnSpLocks/>
          </p:cNvCxnSpPr>
          <p:nvPr/>
        </p:nvCxnSpPr>
        <p:spPr>
          <a:xfrm flipV="1">
            <a:off x="9331120" y="483256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F22FB11-4191-49B7-83B6-A760714096C2}"/>
              </a:ext>
            </a:extLst>
          </p:cNvPr>
          <p:cNvCxnSpPr>
            <a:cxnSpLocks/>
          </p:cNvCxnSpPr>
          <p:nvPr/>
        </p:nvCxnSpPr>
        <p:spPr>
          <a:xfrm flipH="1" flipV="1">
            <a:off x="9419214" y="4824895"/>
            <a:ext cx="226142" cy="25563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199BC21-FE4A-4777-A1FC-BE7382FAACAD}"/>
              </a:ext>
            </a:extLst>
          </p:cNvPr>
          <p:cNvCxnSpPr>
            <a:cxnSpLocks/>
          </p:cNvCxnSpPr>
          <p:nvPr/>
        </p:nvCxnSpPr>
        <p:spPr>
          <a:xfrm flipV="1">
            <a:off x="8992211" y="519793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876CC795-612B-4EE9-8018-DD5CDDC43B0A}"/>
              </a:ext>
            </a:extLst>
          </p:cNvPr>
          <p:cNvCxnSpPr>
            <a:cxnSpLocks/>
          </p:cNvCxnSpPr>
          <p:nvPr/>
        </p:nvCxnSpPr>
        <p:spPr>
          <a:xfrm flipH="1">
            <a:off x="9070259" y="549751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F4ACACC-F1E9-4ECA-8E26-4F334D96B416}"/>
              </a:ext>
            </a:extLst>
          </p:cNvPr>
          <p:cNvCxnSpPr>
            <a:cxnSpLocks/>
          </p:cNvCxnSpPr>
          <p:nvPr/>
        </p:nvCxnSpPr>
        <p:spPr>
          <a:xfrm flipV="1">
            <a:off x="9689689" y="519793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93C2DB89-CB6A-4E96-959F-550949E73832}"/>
              </a:ext>
            </a:extLst>
          </p:cNvPr>
          <p:cNvCxnSpPr>
            <a:cxnSpLocks/>
          </p:cNvCxnSpPr>
          <p:nvPr/>
        </p:nvCxnSpPr>
        <p:spPr>
          <a:xfrm flipV="1">
            <a:off x="7953682"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8" name="Table 37">
            <a:extLst>
              <a:ext uri="{FF2B5EF4-FFF2-40B4-BE49-F238E27FC236}">
                <a16:creationId xmlns:a16="http://schemas.microsoft.com/office/drawing/2014/main" id="{25D90E57-A58B-41D9-8C49-1427223A9FDC}"/>
              </a:ext>
            </a:extLst>
          </p:cNvPr>
          <p:cNvGraphicFramePr>
            <a:graphicFrameLocks noGrp="1"/>
          </p:cNvGraphicFramePr>
          <p:nvPr>
            <p:extLst>
              <p:ext uri="{D42A27DB-BD31-4B8C-83A1-F6EECF244321}">
                <p14:modId xmlns:p14="http://schemas.microsoft.com/office/powerpoint/2010/main" val="4192074088"/>
              </p:ext>
            </p:extLst>
          </p:nvPr>
        </p:nvGraphicFramePr>
        <p:xfrm>
          <a:off x="1977511" y="2747385"/>
          <a:ext cx="3086100" cy="2926080"/>
        </p:xfrm>
        <a:graphic>
          <a:graphicData uri="http://schemas.openxmlformats.org/drawingml/2006/table">
            <a:tbl>
              <a:tblPr/>
              <a:tblGrid>
                <a:gridCol w="342900">
                  <a:extLst>
                    <a:ext uri="{9D8B030D-6E8A-4147-A177-3AD203B41FA5}">
                      <a16:colId xmlns:a16="http://schemas.microsoft.com/office/drawing/2014/main" val="2694681936"/>
                    </a:ext>
                  </a:extLst>
                </a:gridCol>
                <a:gridCol w="342900">
                  <a:extLst>
                    <a:ext uri="{9D8B030D-6E8A-4147-A177-3AD203B41FA5}">
                      <a16:colId xmlns:a16="http://schemas.microsoft.com/office/drawing/2014/main" val="3937859011"/>
                    </a:ext>
                  </a:extLst>
                </a:gridCol>
                <a:gridCol w="342900">
                  <a:extLst>
                    <a:ext uri="{9D8B030D-6E8A-4147-A177-3AD203B41FA5}">
                      <a16:colId xmlns:a16="http://schemas.microsoft.com/office/drawing/2014/main" val="2359372161"/>
                    </a:ext>
                  </a:extLst>
                </a:gridCol>
                <a:gridCol w="342900">
                  <a:extLst>
                    <a:ext uri="{9D8B030D-6E8A-4147-A177-3AD203B41FA5}">
                      <a16:colId xmlns:a16="http://schemas.microsoft.com/office/drawing/2014/main" val="279141942"/>
                    </a:ext>
                  </a:extLst>
                </a:gridCol>
                <a:gridCol w="342900">
                  <a:extLst>
                    <a:ext uri="{9D8B030D-6E8A-4147-A177-3AD203B41FA5}">
                      <a16:colId xmlns:a16="http://schemas.microsoft.com/office/drawing/2014/main" val="401412983"/>
                    </a:ext>
                  </a:extLst>
                </a:gridCol>
                <a:gridCol w="342900">
                  <a:extLst>
                    <a:ext uri="{9D8B030D-6E8A-4147-A177-3AD203B41FA5}">
                      <a16:colId xmlns:a16="http://schemas.microsoft.com/office/drawing/2014/main" val="2579347715"/>
                    </a:ext>
                  </a:extLst>
                </a:gridCol>
                <a:gridCol w="342900">
                  <a:extLst>
                    <a:ext uri="{9D8B030D-6E8A-4147-A177-3AD203B41FA5}">
                      <a16:colId xmlns:a16="http://schemas.microsoft.com/office/drawing/2014/main" val="4167311502"/>
                    </a:ext>
                  </a:extLst>
                </a:gridCol>
                <a:gridCol w="342900">
                  <a:extLst>
                    <a:ext uri="{9D8B030D-6E8A-4147-A177-3AD203B41FA5}">
                      <a16:colId xmlns:a16="http://schemas.microsoft.com/office/drawing/2014/main" val="1115104067"/>
                    </a:ext>
                  </a:extLst>
                </a:gridCol>
                <a:gridCol w="342900">
                  <a:extLst>
                    <a:ext uri="{9D8B030D-6E8A-4147-A177-3AD203B41FA5}">
                      <a16:colId xmlns:a16="http://schemas.microsoft.com/office/drawing/2014/main" val="4164336083"/>
                    </a:ext>
                  </a:extLst>
                </a:gridCol>
              </a:tblGrid>
              <a:tr h="365760">
                <a:tc>
                  <a:txBody>
                    <a:bodyPr/>
                    <a:lstStyle/>
                    <a:p>
                      <a:pPr algn="ctr" fontAlgn="ctr"/>
                      <a:endParaRPr lang="en-ID" sz="1100" b="0" i="0" u="none" strike="noStrike">
                        <a:solidFill>
                          <a:srgbClr val="000000"/>
                        </a:solidFill>
                        <a:effectLst/>
                        <a:latin typeface="Graphik" panose="020B0503030202060203" pitchFamily="34" charset="0"/>
                      </a:endParaRPr>
                    </a:p>
                  </a:txBody>
                  <a:tcPr marL="7620" marR="7620" marT="7620" marB="0" anchor="ctr">
                    <a:lnL>
                      <a:noFill/>
                    </a:lnL>
                    <a:lnR>
                      <a:noFill/>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7</a:t>
                      </a:r>
                    </a:p>
                  </a:txBody>
                  <a:tcPr marL="7620" marR="7620" marT="762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990818"/>
                  </a:ext>
                </a:extLst>
              </a:tr>
              <a:tr h="365760">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774091"/>
                  </a:ext>
                </a:extLst>
              </a:tr>
              <a:tr h="365760">
                <a:tc>
                  <a:txBody>
                    <a:bodyPr/>
                    <a:lstStyle/>
                    <a:p>
                      <a:pPr algn="ctr" fontAlgn="ctr"/>
                      <a:r>
                        <a:rPr lang="en-ID" sz="1100" b="0" i="0" u="none" strike="noStrike">
                          <a:solidFill>
                            <a:srgbClr val="000000"/>
                          </a:solidFill>
                          <a:effectLst/>
                          <a:latin typeface="Graphik" panose="020B0503030202060203" pitchFamily="34" charset="0"/>
                        </a:rPr>
                        <a:t>1</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 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0.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 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9562658"/>
                  </a:ext>
                </a:extLst>
              </a:tr>
              <a:tr h="365760">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 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207001"/>
                  </a:ext>
                </a:extLst>
              </a:tr>
              <a:tr h="365760">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327555"/>
                  </a:ext>
                </a:extLst>
              </a:tr>
              <a:tr h="365760">
                <a:tc>
                  <a:txBody>
                    <a:bodyPr/>
                    <a:lstStyle/>
                    <a:p>
                      <a:pPr algn="ctr" fontAlgn="ctr"/>
                      <a:r>
                        <a:rPr lang="en-ID" sz="1100" b="0" i="0" u="none" strike="noStrike">
                          <a:solidFill>
                            <a:srgbClr val="000000"/>
                          </a:solidFill>
                          <a:effectLst/>
                          <a:latin typeface="Graphik" panose="020B0503030202060203" pitchFamily="34" charset="0"/>
                        </a:rPr>
                        <a:t>4</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351573"/>
                  </a:ext>
                </a:extLst>
              </a:tr>
              <a:tr h="365760">
                <a:tc>
                  <a:txBody>
                    <a:bodyPr/>
                    <a:lstStyle/>
                    <a:p>
                      <a:pPr algn="ctr" fontAlgn="ctr"/>
                      <a:r>
                        <a:rPr lang="en-ID" sz="1100" b="0" i="0" u="none" strike="noStrike">
                          <a:solidFill>
                            <a:srgbClr val="000000"/>
                          </a:solidFill>
                          <a:effectLst/>
                          <a:latin typeface="Graphik" panose="020B0503030202060203" pitchFamily="34" charset="0"/>
                        </a:rPr>
                        <a:t>5</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3565515020"/>
                  </a:ext>
                </a:extLst>
              </a:tr>
              <a:tr h="365760">
                <a:tc>
                  <a:txBody>
                    <a:bodyPr/>
                    <a:lstStyle/>
                    <a:p>
                      <a:pPr algn="ctr" fontAlgn="ctr"/>
                      <a:r>
                        <a:rPr lang="en-ID" sz="1100" b="0" i="0" u="none" strike="noStrike">
                          <a:solidFill>
                            <a:srgbClr val="000000"/>
                          </a:solidFill>
                          <a:effectLst/>
                          <a:latin typeface="Graphik" panose="020B0503030202060203" pitchFamily="34" charset="0"/>
                        </a:rPr>
                        <a:t>6</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ID" sz="1100" b="0" i="0" u="none" strike="noStrike">
                          <a:solidFill>
                            <a:srgbClr val="000000"/>
                          </a:solidFill>
                          <a:effectLst/>
                          <a:latin typeface="Graphik" panose="020B0503030202060203" pitchFamily="34" charset="0"/>
                        </a:rPr>
                        <a:t>inf</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5</a:t>
                      </a:r>
                      <a:endParaRPr lang="en-ID" sz="1100" b="0" i="0" u="none" strike="noStrike">
                        <a:solidFill>
                          <a:srgbClr val="000000"/>
                        </a:solidFill>
                        <a:effectLst/>
                        <a:latin typeface="Graphik" panose="020B0503030202060203"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Graphik" panose="020B0503030202060203" pitchFamily="34" charset="0"/>
                        </a:rPr>
                        <a:t>1</a:t>
                      </a:r>
                      <a:r>
                        <a:rPr lang="en-ID" sz="1100" b="0" i="0" u="none" strike="noStrike">
                          <a:solidFill>
                            <a:srgbClr val="000000"/>
                          </a:solidFill>
                          <a:effectLst/>
                          <a:latin typeface="Graphik" panose="020B0503030202060203"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0" i="0" u="none" strike="noStrike">
                          <a:solidFill>
                            <a:srgbClr val="000000"/>
                          </a:solidFill>
                          <a:effectLst/>
                          <a:latin typeface="Graphik" panose="020B0503030202060203"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D" sz="1100" b="1" i="0" u="none" strike="noStrike">
                          <a:solidFill>
                            <a:srgbClr val="000000"/>
                          </a:solidFill>
                          <a:effectLst/>
                          <a:latin typeface="Graphik" panose="020B0503030202060203"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696629058"/>
                  </a:ext>
                </a:extLst>
              </a:tr>
            </a:tbl>
          </a:graphicData>
        </a:graphic>
      </p:graphicFrame>
      <p:sp>
        <p:nvSpPr>
          <p:cNvPr id="39" name="TextBox 38">
            <a:extLst>
              <a:ext uri="{FF2B5EF4-FFF2-40B4-BE49-F238E27FC236}">
                <a16:creationId xmlns:a16="http://schemas.microsoft.com/office/drawing/2014/main" id="{0BBC221B-4163-4B9F-8AF7-71D02EBAB337}"/>
              </a:ext>
            </a:extLst>
          </p:cNvPr>
          <p:cNvSpPr txBox="1"/>
          <p:nvPr/>
        </p:nvSpPr>
        <p:spPr>
          <a:xfrm rot="16200000">
            <a:off x="1131017" y="4434623"/>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X</a:t>
            </a:r>
            <a:endParaRPr lang="en-ID" sz="1400" noProof="0"/>
          </a:p>
        </p:txBody>
      </p:sp>
      <p:sp>
        <p:nvSpPr>
          <p:cNvPr id="40" name="TextBox 39">
            <a:extLst>
              <a:ext uri="{FF2B5EF4-FFF2-40B4-BE49-F238E27FC236}">
                <a16:creationId xmlns:a16="http://schemas.microsoft.com/office/drawing/2014/main" id="{6DE56461-12D8-46E6-ADC0-E653207B8595}"/>
              </a:ext>
            </a:extLst>
          </p:cNvPr>
          <p:cNvSpPr txBox="1"/>
          <p:nvPr/>
        </p:nvSpPr>
        <p:spPr>
          <a:xfrm>
            <a:off x="2831996" y="2519231"/>
            <a:ext cx="1377129" cy="228154"/>
          </a:xfrm>
          <a:prstGeom prst="rect">
            <a:avLst/>
          </a:prstGeom>
          <a:noFill/>
        </p:spPr>
        <p:txBody>
          <a:bodyPr wrap="none" lIns="0" tIns="0" rIns="0" bIns="0" rtlCol="0">
            <a:noAutofit/>
          </a:bodyPr>
          <a:lstStyle/>
          <a:p>
            <a:pPr algn="l" defTabSz="228600">
              <a:spcAft>
                <a:spcPts val="1200"/>
              </a:spcAft>
            </a:pPr>
            <a:r>
              <a:rPr lang="en-US" sz="1400" noProof="0"/>
              <a:t>Time Series Y</a:t>
            </a:r>
            <a:endParaRPr lang="en-ID" sz="1400" noProof="0"/>
          </a:p>
        </p:txBody>
      </p:sp>
      <p:cxnSp>
        <p:nvCxnSpPr>
          <p:cNvPr id="41" name="Straight Arrow Connector 40">
            <a:extLst>
              <a:ext uri="{FF2B5EF4-FFF2-40B4-BE49-F238E27FC236}">
                <a16:creationId xmlns:a16="http://schemas.microsoft.com/office/drawing/2014/main" id="{75BE83C1-17F5-4952-B866-A2BB71B9FF98}"/>
              </a:ext>
            </a:extLst>
          </p:cNvPr>
          <p:cNvCxnSpPr>
            <a:cxnSpLocks/>
          </p:cNvCxnSpPr>
          <p:nvPr/>
        </p:nvCxnSpPr>
        <p:spPr>
          <a:xfrm flipH="1" flipV="1">
            <a:off x="2527504" y="3339333"/>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A791CDB-74E0-4D30-B2DE-8544720345E6}"/>
              </a:ext>
            </a:extLst>
          </p:cNvPr>
          <p:cNvCxnSpPr>
            <a:cxnSpLocks/>
          </p:cNvCxnSpPr>
          <p:nvPr/>
        </p:nvCxnSpPr>
        <p:spPr>
          <a:xfrm flipH="1">
            <a:off x="2930626" y="3673630"/>
            <a:ext cx="176981" cy="0"/>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E0D9182C-BFC7-49FD-84BB-862C2BC9F4DC}"/>
              </a:ext>
            </a:extLst>
          </p:cNvPr>
          <p:cNvCxnSpPr>
            <a:cxnSpLocks/>
          </p:cNvCxnSpPr>
          <p:nvPr/>
        </p:nvCxnSpPr>
        <p:spPr>
          <a:xfrm flipH="1">
            <a:off x="3210846" y="3673630"/>
            <a:ext cx="176981" cy="0"/>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A68BDE7B-13B2-474E-81E1-7D027443DFB2}"/>
              </a:ext>
            </a:extLst>
          </p:cNvPr>
          <p:cNvCxnSpPr>
            <a:cxnSpLocks/>
          </p:cNvCxnSpPr>
          <p:nvPr/>
        </p:nvCxnSpPr>
        <p:spPr>
          <a:xfrm flipH="1">
            <a:off x="3609053" y="367363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CE61316-6BB1-419B-AD3F-E6F0FFFD7CD4}"/>
              </a:ext>
            </a:extLst>
          </p:cNvPr>
          <p:cNvCxnSpPr>
            <a:cxnSpLocks/>
          </p:cNvCxnSpPr>
          <p:nvPr/>
        </p:nvCxnSpPr>
        <p:spPr>
          <a:xfrm flipH="1">
            <a:off x="3958098" y="367363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D174AC7-6B87-4947-8D5C-54FB3A84EFE3}"/>
              </a:ext>
            </a:extLst>
          </p:cNvPr>
          <p:cNvCxnSpPr>
            <a:cxnSpLocks/>
          </p:cNvCxnSpPr>
          <p:nvPr/>
        </p:nvCxnSpPr>
        <p:spPr>
          <a:xfrm flipH="1">
            <a:off x="4282563" y="367363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66961380-6CDF-438C-8A9B-C5CEEE5CB537}"/>
              </a:ext>
            </a:extLst>
          </p:cNvPr>
          <p:cNvCxnSpPr>
            <a:cxnSpLocks/>
          </p:cNvCxnSpPr>
          <p:nvPr/>
        </p:nvCxnSpPr>
        <p:spPr>
          <a:xfrm flipH="1">
            <a:off x="4631608" y="3673630"/>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6C651EB-CD04-4198-90B1-140F32474C3B}"/>
              </a:ext>
            </a:extLst>
          </p:cNvPr>
          <p:cNvCxnSpPr>
            <a:cxnSpLocks/>
          </p:cNvCxnSpPr>
          <p:nvPr/>
        </p:nvCxnSpPr>
        <p:spPr>
          <a:xfrm flipV="1">
            <a:off x="2831996" y="375228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7C6C6315-693D-438F-911C-962FD081FC7B}"/>
              </a:ext>
            </a:extLst>
          </p:cNvPr>
          <p:cNvCxnSpPr>
            <a:cxnSpLocks/>
          </p:cNvCxnSpPr>
          <p:nvPr/>
        </p:nvCxnSpPr>
        <p:spPr>
          <a:xfrm flipV="1">
            <a:off x="3161376" y="375198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9B35388-C84E-4C85-926D-A98ADB8D6DD2}"/>
              </a:ext>
            </a:extLst>
          </p:cNvPr>
          <p:cNvCxnSpPr>
            <a:cxnSpLocks/>
          </p:cNvCxnSpPr>
          <p:nvPr/>
        </p:nvCxnSpPr>
        <p:spPr>
          <a:xfrm flipH="1" flipV="1">
            <a:off x="3212076" y="3737537"/>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FBA821D-007F-4C36-8A88-7AE2C492BBD9}"/>
              </a:ext>
            </a:extLst>
          </p:cNvPr>
          <p:cNvCxnSpPr>
            <a:cxnSpLocks/>
          </p:cNvCxnSpPr>
          <p:nvPr/>
        </p:nvCxnSpPr>
        <p:spPr>
          <a:xfrm flipH="1" flipV="1">
            <a:off x="3520560" y="372214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F2F9E30C-FE97-4DF7-9A99-27338FB66739}"/>
              </a:ext>
            </a:extLst>
          </p:cNvPr>
          <p:cNvCxnSpPr>
            <a:cxnSpLocks/>
          </p:cNvCxnSpPr>
          <p:nvPr/>
        </p:nvCxnSpPr>
        <p:spPr>
          <a:xfrm flipH="1">
            <a:off x="3958098" y="403622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2949BC22-E623-44D1-8CC9-5BE424B2FA8E}"/>
              </a:ext>
            </a:extLst>
          </p:cNvPr>
          <p:cNvCxnSpPr>
            <a:cxnSpLocks/>
          </p:cNvCxnSpPr>
          <p:nvPr/>
        </p:nvCxnSpPr>
        <p:spPr>
          <a:xfrm flipH="1">
            <a:off x="4282563" y="4039941"/>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0A1A90B6-8DDE-46A3-82AA-358347A7C863}"/>
              </a:ext>
            </a:extLst>
          </p:cNvPr>
          <p:cNvCxnSpPr>
            <a:cxnSpLocks/>
          </p:cNvCxnSpPr>
          <p:nvPr/>
        </p:nvCxnSpPr>
        <p:spPr>
          <a:xfrm flipH="1">
            <a:off x="4631608" y="4036224"/>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F1AADEA-FF9A-4DE4-9506-2305DC0B42D3}"/>
              </a:ext>
            </a:extLst>
          </p:cNvPr>
          <p:cNvCxnSpPr>
            <a:cxnSpLocks/>
          </p:cNvCxnSpPr>
          <p:nvPr/>
        </p:nvCxnSpPr>
        <p:spPr>
          <a:xfrm flipV="1">
            <a:off x="2831996"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C305E2D-2161-4306-AFC0-D1FA8A6C752D}"/>
              </a:ext>
            </a:extLst>
          </p:cNvPr>
          <p:cNvCxnSpPr>
            <a:cxnSpLocks/>
          </p:cNvCxnSpPr>
          <p:nvPr/>
        </p:nvCxnSpPr>
        <p:spPr>
          <a:xfrm flipH="1">
            <a:off x="2930626" y="440613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8E86C4D6-2F85-43D4-BD0E-74D5F2937F8F}"/>
              </a:ext>
            </a:extLst>
          </p:cNvPr>
          <p:cNvCxnSpPr>
            <a:cxnSpLocks/>
          </p:cNvCxnSpPr>
          <p:nvPr/>
        </p:nvCxnSpPr>
        <p:spPr>
          <a:xfrm flipV="1">
            <a:off x="3520560"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F98E3EB-5820-46D9-89E6-D4FCB6A8CFD1}"/>
              </a:ext>
            </a:extLst>
          </p:cNvPr>
          <p:cNvCxnSpPr>
            <a:cxnSpLocks/>
          </p:cNvCxnSpPr>
          <p:nvPr/>
        </p:nvCxnSpPr>
        <p:spPr>
          <a:xfrm flipV="1">
            <a:off x="3869605" y="4104658"/>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6D2A5E1D-4ECD-4D7D-8C5C-B73924795F58}"/>
              </a:ext>
            </a:extLst>
          </p:cNvPr>
          <p:cNvCxnSpPr>
            <a:cxnSpLocks/>
          </p:cNvCxnSpPr>
          <p:nvPr/>
        </p:nvCxnSpPr>
        <p:spPr>
          <a:xfrm flipH="1" flipV="1">
            <a:off x="3920304" y="408260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16176229-9498-470C-A4B5-03C13CEF56EC}"/>
              </a:ext>
            </a:extLst>
          </p:cNvPr>
          <p:cNvCxnSpPr>
            <a:cxnSpLocks/>
          </p:cNvCxnSpPr>
          <p:nvPr/>
        </p:nvCxnSpPr>
        <p:spPr>
          <a:xfrm flipH="1">
            <a:off x="4287479" y="439629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BFB7B8A-E7C3-47AE-A1E2-ED6DC9203195}"/>
              </a:ext>
            </a:extLst>
          </p:cNvPr>
          <p:cNvCxnSpPr>
            <a:cxnSpLocks/>
          </p:cNvCxnSpPr>
          <p:nvPr/>
        </p:nvCxnSpPr>
        <p:spPr>
          <a:xfrm flipH="1">
            <a:off x="4631608" y="4396299"/>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D242EF99-73AD-4240-81C6-14CAB93D72E9}"/>
              </a:ext>
            </a:extLst>
          </p:cNvPr>
          <p:cNvCxnSpPr>
            <a:cxnSpLocks/>
          </p:cNvCxnSpPr>
          <p:nvPr/>
        </p:nvCxnSpPr>
        <p:spPr>
          <a:xfrm flipV="1">
            <a:off x="2836605" y="447004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1FD74C93-EFF0-4EA9-A975-1F4193295196}"/>
              </a:ext>
            </a:extLst>
          </p:cNvPr>
          <p:cNvCxnSpPr>
            <a:cxnSpLocks/>
          </p:cNvCxnSpPr>
          <p:nvPr/>
        </p:nvCxnSpPr>
        <p:spPr>
          <a:xfrm flipV="1">
            <a:off x="3161376" y="4474955"/>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158B498-C001-4ED5-AD3A-15A7EB669672}"/>
              </a:ext>
            </a:extLst>
          </p:cNvPr>
          <p:cNvCxnSpPr>
            <a:cxnSpLocks/>
          </p:cNvCxnSpPr>
          <p:nvPr/>
        </p:nvCxnSpPr>
        <p:spPr>
          <a:xfrm flipV="1">
            <a:off x="3520560" y="4470041"/>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9EA6FB7-2171-4FD0-B45A-55089C9B1480}"/>
              </a:ext>
            </a:extLst>
          </p:cNvPr>
          <p:cNvCxnSpPr>
            <a:cxnSpLocks/>
          </p:cNvCxnSpPr>
          <p:nvPr/>
        </p:nvCxnSpPr>
        <p:spPr>
          <a:xfrm flipH="1" flipV="1">
            <a:off x="3582629" y="4437481"/>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9AF5C775-A4C2-426E-A591-430FEA05DFAF}"/>
              </a:ext>
            </a:extLst>
          </p:cNvPr>
          <p:cNvCxnSpPr>
            <a:cxnSpLocks/>
          </p:cNvCxnSpPr>
          <p:nvPr/>
        </p:nvCxnSpPr>
        <p:spPr>
          <a:xfrm flipV="1">
            <a:off x="4209125" y="446697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961D4AD-B861-43C9-844C-E6A3C28AC815}"/>
              </a:ext>
            </a:extLst>
          </p:cNvPr>
          <p:cNvCxnSpPr>
            <a:cxnSpLocks/>
          </p:cNvCxnSpPr>
          <p:nvPr/>
        </p:nvCxnSpPr>
        <p:spPr>
          <a:xfrm flipH="1" flipV="1">
            <a:off x="4282563" y="4476833"/>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86099A-E7CA-419C-9F97-7732739C635D}"/>
              </a:ext>
            </a:extLst>
          </p:cNvPr>
          <p:cNvCxnSpPr>
            <a:cxnSpLocks/>
          </p:cNvCxnSpPr>
          <p:nvPr/>
        </p:nvCxnSpPr>
        <p:spPr>
          <a:xfrm flipH="1">
            <a:off x="4631608" y="4752135"/>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DB37B62-CE5F-4DA0-B4A2-09C76AB8D610}"/>
              </a:ext>
            </a:extLst>
          </p:cNvPr>
          <p:cNvCxnSpPr>
            <a:cxnSpLocks/>
          </p:cNvCxnSpPr>
          <p:nvPr/>
        </p:nvCxnSpPr>
        <p:spPr>
          <a:xfrm flipV="1">
            <a:off x="2831996" y="483875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38BDD2C1-503A-4924-9119-7ED33B372098}"/>
              </a:ext>
            </a:extLst>
          </p:cNvPr>
          <p:cNvCxnSpPr>
            <a:cxnSpLocks/>
          </p:cNvCxnSpPr>
          <p:nvPr/>
        </p:nvCxnSpPr>
        <p:spPr>
          <a:xfrm flipH="1">
            <a:off x="2925709" y="5118972"/>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C47186D-FB50-4539-8309-52A4FDD39D8B}"/>
              </a:ext>
            </a:extLst>
          </p:cNvPr>
          <p:cNvCxnSpPr>
            <a:cxnSpLocks/>
          </p:cNvCxnSpPr>
          <p:nvPr/>
        </p:nvCxnSpPr>
        <p:spPr>
          <a:xfrm flipV="1">
            <a:off x="3520560" y="483875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7AC9B1CD-604B-4C3B-BD78-D7171E604F0D}"/>
              </a:ext>
            </a:extLst>
          </p:cNvPr>
          <p:cNvCxnSpPr>
            <a:cxnSpLocks/>
          </p:cNvCxnSpPr>
          <p:nvPr/>
        </p:nvCxnSpPr>
        <p:spPr>
          <a:xfrm flipH="1" flipV="1">
            <a:off x="3613967" y="481599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A71CEC81-A39E-4B31-9C8F-2CF5FB39F18B}"/>
              </a:ext>
            </a:extLst>
          </p:cNvPr>
          <p:cNvCxnSpPr>
            <a:cxnSpLocks/>
          </p:cNvCxnSpPr>
          <p:nvPr/>
        </p:nvCxnSpPr>
        <p:spPr>
          <a:xfrm flipV="1">
            <a:off x="4199293" y="4835660"/>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47A58B6-48B9-459F-81F9-89F453C4CAB4}"/>
              </a:ext>
            </a:extLst>
          </p:cNvPr>
          <p:cNvCxnSpPr>
            <a:cxnSpLocks/>
          </p:cNvCxnSpPr>
          <p:nvPr/>
        </p:nvCxnSpPr>
        <p:spPr>
          <a:xfrm flipV="1">
            <a:off x="4533591" y="4832567"/>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B673B3FC-DCF8-429A-96C3-ED0DFF7D8B34}"/>
              </a:ext>
            </a:extLst>
          </p:cNvPr>
          <p:cNvCxnSpPr>
            <a:cxnSpLocks/>
          </p:cNvCxnSpPr>
          <p:nvPr/>
        </p:nvCxnSpPr>
        <p:spPr>
          <a:xfrm flipH="1" flipV="1">
            <a:off x="4621685" y="4824895"/>
            <a:ext cx="226142" cy="255639"/>
          </a:xfrm>
          <a:prstGeom prst="straightConnector1">
            <a:avLst/>
          </a:prstGeom>
          <a:ln w="28575">
            <a:solidFill>
              <a:srgbClr val="A100FF"/>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6A65191-1130-4234-98B9-177E0D4D07B9}"/>
              </a:ext>
            </a:extLst>
          </p:cNvPr>
          <p:cNvCxnSpPr>
            <a:cxnSpLocks/>
          </p:cNvCxnSpPr>
          <p:nvPr/>
        </p:nvCxnSpPr>
        <p:spPr>
          <a:xfrm flipV="1">
            <a:off x="2831996" y="5197934"/>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BB237E5D-DE16-49A7-880F-9764ED183B9D}"/>
              </a:ext>
            </a:extLst>
          </p:cNvPr>
          <p:cNvCxnSpPr>
            <a:cxnSpLocks/>
          </p:cNvCxnSpPr>
          <p:nvPr/>
        </p:nvCxnSpPr>
        <p:spPr>
          <a:xfrm flipH="1">
            <a:off x="2935540" y="549751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A324986-D0AA-47BE-94B1-B0EDCF02B341}"/>
              </a:ext>
            </a:extLst>
          </p:cNvPr>
          <p:cNvCxnSpPr>
            <a:cxnSpLocks/>
          </p:cNvCxnSpPr>
          <p:nvPr/>
        </p:nvCxnSpPr>
        <p:spPr>
          <a:xfrm flipH="1">
            <a:off x="3210845" y="549751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9196657-6BC2-414B-B53D-19C8E7D5ED82}"/>
              </a:ext>
            </a:extLst>
          </p:cNvPr>
          <p:cNvCxnSpPr>
            <a:cxnSpLocks/>
          </p:cNvCxnSpPr>
          <p:nvPr/>
        </p:nvCxnSpPr>
        <p:spPr>
          <a:xfrm flipH="1" flipV="1">
            <a:off x="3582629" y="5168436"/>
            <a:ext cx="226142" cy="255639"/>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36767426-8A3D-4147-948C-D31592DD24DD}"/>
              </a:ext>
            </a:extLst>
          </p:cNvPr>
          <p:cNvCxnSpPr>
            <a:cxnSpLocks/>
          </p:cNvCxnSpPr>
          <p:nvPr/>
        </p:nvCxnSpPr>
        <p:spPr>
          <a:xfrm flipV="1">
            <a:off x="4194682" y="5197932"/>
            <a:ext cx="0" cy="196645"/>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6E2128F3-3053-43FA-8E19-A6A110B90AE1}"/>
              </a:ext>
            </a:extLst>
          </p:cNvPr>
          <p:cNvCxnSpPr>
            <a:cxnSpLocks/>
          </p:cNvCxnSpPr>
          <p:nvPr/>
        </p:nvCxnSpPr>
        <p:spPr>
          <a:xfrm flipH="1">
            <a:off x="4272730" y="5497513"/>
            <a:ext cx="176981" cy="0"/>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29C825F8-1C35-46E0-BC10-44C80FF360B0}"/>
              </a:ext>
            </a:extLst>
          </p:cNvPr>
          <p:cNvCxnSpPr>
            <a:cxnSpLocks/>
          </p:cNvCxnSpPr>
          <p:nvPr/>
        </p:nvCxnSpPr>
        <p:spPr>
          <a:xfrm flipV="1">
            <a:off x="4892160" y="5197931"/>
            <a:ext cx="0" cy="19664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7023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TW with </a:t>
            </a:r>
            <a:r>
              <a:rPr lang="en-US" err="1"/>
              <a:t>Sakoe</a:t>
            </a:r>
            <a:r>
              <a:rPr lang="en-US"/>
              <a:t>-Chiba Band</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Drawbacks</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latin typeface="Graphik" panose="020B0503030202060203" pitchFamily="34" charset="0"/>
              </a:rPr>
              <a:t>Can lead to suboptimal distance and path if the radius is too small while the optimal warp path is far from diagonal</a:t>
            </a:r>
          </a:p>
          <a:p>
            <a:r>
              <a:rPr lang="en-US">
                <a:latin typeface="Graphik" panose="020B0503030202060203" pitchFamily="34" charset="0"/>
              </a:rPr>
              <a:t>Although it is generally faster than DTW, the time complexity is still O(N</a:t>
            </a:r>
            <a:r>
              <a:rPr lang="en-US" baseline="30000">
                <a:latin typeface="Graphik" panose="020B0503030202060203" pitchFamily="34" charset="0"/>
              </a:rPr>
              <a:t>2</a:t>
            </a:r>
            <a:r>
              <a:rPr lang="en-US">
                <a:latin typeface="Graphik" panose="020B0503030202060203" pitchFamily="34" charset="0"/>
              </a:rPr>
              <a:t>)</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1</a:t>
            </a:fld>
            <a:endParaRPr lang="en-US"/>
          </a:p>
        </p:txBody>
      </p:sp>
    </p:spTree>
    <p:extLst>
      <p:ext uri="{BB962C8B-B14F-4D97-AF65-F5344CB8AC3E}">
        <p14:creationId xmlns:p14="http://schemas.microsoft.com/office/powerpoint/2010/main" val="1763061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ast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Making DTW Even Faster 😎. Or Is It 😕?</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latin typeface="Graphik" panose="020B0503030202060203" pitchFamily="34" charset="0"/>
              </a:rPr>
              <a:t>An </a:t>
            </a:r>
            <a:r>
              <a:rPr lang="en-US" u="sng">
                <a:latin typeface="Graphik" panose="020B0503030202060203" pitchFamily="34" charset="0"/>
              </a:rPr>
              <a:t>approximation</a:t>
            </a:r>
            <a:r>
              <a:rPr lang="en-US">
                <a:latin typeface="Graphik" panose="020B0503030202060203" pitchFamily="34" charset="0"/>
              </a:rPr>
              <a:t> of DTW that has a linear time O(N) and space complexity 😮</a:t>
            </a:r>
          </a:p>
          <a:p>
            <a:r>
              <a:rPr lang="en-US">
                <a:latin typeface="Graphik" panose="020B0503030202060203" pitchFamily="34" charset="0"/>
              </a:rPr>
              <a:t>Uses a multilevel approach with three key operations:</a:t>
            </a:r>
          </a:p>
          <a:p>
            <a:pPr lvl="1"/>
            <a:r>
              <a:rPr lang="en-US" b="1">
                <a:latin typeface="Graphik" panose="020B0503030202060203" pitchFamily="34" charset="0"/>
              </a:rPr>
              <a:t>Coarsening</a:t>
            </a:r>
            <a:r>
              <a:rPr lang="en-US">
                <a:latin typeface="Graphik" panose="020B0503030202060203" pitchFamily="34" charset="0"/>
              </a:rPr>
              <a:t>: </a:t>
            </a:r>
            <a:r>
              <a:rPr lang="en-US"/>
              <a:t>Shrink a time series into a smaller time series that represents the same curve as accurately as possible with fewer data points</a:t>
            </a:r>
          </a:p>
          <a:p>
            <a:pPr lvl="1"/>
            <a:r>
              <a:rPr lang="en-US" b="1">
                <a:latin typeface="Graphik" panose="020B0503030202060203" pitchFamily="34" charset="0"/>
              </a:rPr>
              <a:t>Projection</a:t>
            </a:r>
            <a:r>
              <a:rPr lang="en-US">
                <a:latin typeface="Graphik" panose="020B0503030202060203" pitchFamily="34" charset="0"/>
              </a:rPr>
              <a:t>: </a:t>
            </a:r>
            <a:r>
              <a:rPr lang="en-US"/>
              <a:t>Find a minimum-distance warp path at a lower resolution, and use that warp path as an initial guess for a higher resolution’s minimum-distance warp path</a:t>
            </a:r>
          </a:p>
          <a:p>
            <a:pPr lvl="1"/>
            <a:r>
              <a:rPr lang="en-US" b="1">
                <a:latin typeface="Graphik" panose="020B0503030202060203" pitchFamily="34" charset="0"/>
              </a:rPr>
              <a:t>Refinement</a:t>
            </a:r>
            <a:r>
              <a:rPr lang="en-US">
                <a:latin typeface="Graphik" panose="020B0503030202060203" pitchFamily="34" charset="0"/>
              </a:rPr>
              <a:t>: </a:t>
            </a:r>
            <a:r>
              <a:rPr lang="en-US"/>
              <a:t>Refine the warp path projected from a lower resolution through local adjustments of the warp path</a:t>
            </a:r>
            <a:endParaRPr lang="en-US">
              <a:latin typeface="Graphik" panose="020B0503030202060203" pitchFamily="34" charset="0"/>
            </a:endParaRPr>
          </a:p>
          <a:p>
            <a:endParaRPr lang="en-US">
              <a:latin typeface="Graphik" panose="020B0503030202060203" pitchFamily="34" charset="0"/>
            </a:endParaRP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2</a:t>
            </a:fld>
            <a:endParaRPr lang="en-US"/>
          </a:p>
        </p:txBody>
      </p:sp>
    </p:spTree>
    <p:extLst>
      <p:ext uri="{BB962C8B-B14F-4D97-AF65-F5344CB8AC3E}">
        <p14:creationId xmlns:p14="http://schemas.microsoft.com/office/powerpoint/2010/main" val="1832278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ast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Illustration</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3</a:t>
            </a:fld>
            <a:endParaRPr lang="en-US"/>
          </a:p>
        </p:txBody>
      </p:sp>
      <p:pic>
        <p:nvPicPr>
          <p:cNvPr id="10" name="Picture 9">
            <a:extLst>
              <a:ext uri="{FF2B5EF4-FFF2-40B4-BE49-F238E27FC236}">
                <a16:creationId xmlns:a16="http://schemas.microsoft.com/office/drawing/2014/main" id="{D5FF4526-B01E-4C09-BBF4-0DCDE778F5C5}"/>
              </a:ext>
            </a:extLst>
          </p:cNvPr>
          <p:cNvPicPr>
            <a:picLocks noChangeAspect="1"/>
          </p:cNvPicPr>
          <p:nvPr/>
        </p:nvPicPr>
        <p:blipFill>
          <a:blip r:embed="rId2"/>
          <a:stretch>
            <a:fillRect/>
          </a:stretch>
        </p:blipFill>
        <p:spPr>
          <a:xfrm>
            <a:off x="606251" y="1730362"/>
            <a:ext cx="10979498" cy="3397276"/>
          </a:xfrm>
          <a:prstGeom prst="rect">
            <a:avLst/>
          </a:prstGeom>
        </p:spPr>
      </p:pic>
    </p:spTree>
    <p:extLst>
      <p:ext uri="{BB962C8B-B14F-4D97-AF65-F5344CB8AC3E}">
        <p14:creationId xmlns:p14="http://schemas.microsoft.com/office/powerpoint/2010/main" val="34945652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Fast DT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Algorithm</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4</a:t>
            </a:fld>
            <a:endParaRPr lang="en-US"/>
          </a:p>
        </p:txBody>
      </p:sp>
      <p:pic>
        <p:nvPicPr>
          <p:cNvPr id="13" name="Picture 12">
            <a:extLst>
              <a:ext uri="{FF2B5EF4-FFF2-40B4-BE49-F238E27FC236}">
                <a16:creationId xmlns:a16="http://schemas.microsoft.com/office/drawing/2014/main" id="{C859E2AF-45A9-4D3E-927A-090282F67330}"/>
              </a:ext>
            </a:extLst>
          </p:cNvPr>
          <p:cNvPicPr>
            <a:picLocks noChangeAspect="1"/>
          </p:cNvPicPr>
          <p:nvPr/>
        </p:nvPicPr>
        <p:blipFill>
          <a:blip r:embed="rId2"/>
          <a:stretch>
            <a:fillRect/>
          </a:stretch>
        </p:blipFill>
        <p:spPr>
          <a:xfrm>
            <a:off x="4273899" y="1186357"/>
            <a:ext cx="3644202" cy="5510208"/>
          </a:xfrm>
          <a:prstGeom prst="rect">
            <a:avLst/>
          </a:prstGeom>
        </p:spPr>
      </p:pic>
    </p:spTree>
    <p:extLst>
      <p:ext uri="{BB962C8B-B14F-4D97-AF65-F5344CB8AC3E}">
        <p14:creationId xmlns:p14="http://schemas.microsoft.com/office/powerpoint/2010/main" val="36779089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Expanding Resolution Windo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Create 2 x 2 blocks based on the path from lower resolution</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5</a:t>
            </a:fld>
            <a:endParaRPr lang="en-US"/>
          </a:p>
        </p:txBody>
      </p:sp>
      <p:graphicFrame>
        <p:nvGraphicFramePr>
          <p:cNvPr id="9" name="Table 8">
            <a:extLst>
              <a:ext uri="{FF2B5EF4-FFF2-40B4-BE49-F238E27FC236}">
                <a16:creationId xmlns:a16="http://schemas.microsoft.com/office/drawing/2014/main" id="{B69ABBAC-6C6E-4DFC-96F8-B5723C830582}"/>
              </a:ext>
            </a:extLst>
          </p:cNvPr>
          <p:cNvGraphicFramePr>
            <a:graphicFrameLocks noGrp="1"/>
          </p:cNvGraphicFramePr>
          <p:nvPr>
            <p:extLst>
              <p:ext uri="{D42A27DB-BD31-4B8C-83A1-F6EECF244321}">
                <p14:modId xmlns:p14="http://schemas.microsoft.com/office/powerpoint/2010/main" val="3656200707"/>
              </p:ext>
            </p:extLst>
          </p:nvPr>
        </p:nvGraphicFramePr>
        <p:xfrm>
          <a:off x="1902716" y="1619042"/>
          <a:ext cx="8386568" cy="4935536"/>
        </p:xfrm>
        <a:graphic>
          <a:graphicData uri="http://schemas.openxmlformats.org/drawingml/2006/table">
            <a:tbl>
              <a:tblPr/>
              <a:tblGrid>
                <a:gridCol w="289192">
                  <a:extLst>
                    <a:ext uri="{9D8B030D-6E8A-4147-A177-3AD203B41FA5}">
                      <a16:colId xmlns:a16="http://schemas.microsoft.com/office/drawing/2014/main" val="839339242"/>
                    </a:ext>
                  </a:extLst>
                </a:gridCol>
                <a:gridCol w="289192">
                  <a:extLst>
                    <a:ext uri="{9D8B030D-6E8A-4147-A177-3AD203B41FA5}">
                      <a16:colId xmlns:a16="http://schemas.microsoft.com/office/drawing/2014/main" val="2478613039"/>
                    </a:ext>
                  </a:extLst>
                </a:gridCol>
                <a:gridCol w="289192">
                  <a:extLst>
                    <a:ext uri="{9D8B030D-6E8A-4147-A177-3AD203B41FA5}">
                      <a16:colId xmlns:a16="http://schemas.microsoft.com/office/drawing/2014/main" val="2310046309"/>
                    </a:ext>
                  </a:extLst>
                </a:gridCol>
                <a:gridCol w="289192">
                  <a:extLst>
                    <a:ext uri="{9D8B030D-6E8A-4147-A177-3AD203B41FA5}">
                      <a16:colId xmlns:a16="http://schemas.microsoft.com/office/drawing/2014/main" val="2140064574"/>
                    </a:ext>
                  </a:extLst>
                </a:gridCol>
                <a:gridCol w="289192">
                  <a:extLst>
                    <a:ext uri="{9D8B030D-6E8A-4147-A177-3AD203B41FA5}">
                      <a16:colId xmlns:a16="http://schemas.microsoft.com/office/drawing/2014/main" val="4018021336"/>
                    </a:ext>
                  </a:extLst>
                </a:gridCol>
                <a:gridCol w="289192">
                  <a:extLst>
                    <a:ext uri="{9D8B030D-6E8A-4147-A177-3AD203B41FA5}">
                      <a16:colId xmlns:a16="http://schemas.microsoft.com/office/drawing/2014/main" val="800253442"/>
                    </a:ext>
                  </a:extLst>
                </a:gridCol>
                <a:gridCol w="289192">
                  <a:extLst>
                    <a:ext uri="{9D8B030D-6E8A-4147-A177-3AD203B41FA5}">
                      <a16:colId xmlns:a16="http://schemas.microsoft.com/office/drawing/2014/main" val="2529130720"/>
                    </a:ext>
                  </a:extLst>
                </a:gridCol>
                <a:gridCol w="289192">
                  <a:extLst>
                    <a:ext uri="{9D8B030D-6E8A-4147-A177-3AD203B41FA5}">
                      <a16:colId xmlns:a16="http://schemas.microsoft.com/office/drawing/2014/main" val="2167900286"/>
                    </a:ext>
                  </a:extLst>
                </a:gridCol>
                <a:gridCol w="289192">
                  <a:extLst>
                    <a:ext uri="{9D8B030D-6E8A-4147-A177-3AD203B41FA5}">
                      <a16:colId xmlns:a16="http://schemas.microsoft.com/office/drawing/2014/main" val="3441865545"/>
                    </a:ext>
                  </a:extLst>
                </a:gridCol>
                <a:gridCol w="289192">
                  <a:extLst>
                    <a:ext uri="{9D8B030D-6E8A-4147-A177-3AD203B41FA5}">
                      <a16:colId xmlns:a16="http://schemas.microsoft.com/office/drawing/2014/main" val="1665780496"/>
                    </a:ext>
                  </a:extLst>
                </a:gridCol>
                <a:gridCol w="289192">
                  <a:extLst>
                    <a:ext uri="{9D8B030D-6E8A-4147-A177-3AD203B41FA5}">
                      <a16:colId xmlns:a16="http://schemas.microsoft.com/office/drawing/2014/main" val="3356875359"/>
                    </a:ext>
                  </a:extLst>
                </a:gridCol>
                <a:gridCol w="289192">
                  <a:extLst>
                    <a:ext uri="{9D8B030D-6E8A-4147-A177-3AD203B41FA5}">
                      <a16:colId xmlns:a16="http://schemas.microsoft.com/office/drawing/2014/main" val="3691781122"/>
                    </a:ext>
                  </a:extLst>
                </a:gridCol>
                <a:gridCol w="289192">
                  <a:extLst>
                    <a:ext uri="{9D8B030D-6E8A-4147-A177-3AD203B41FA5}">
                      <a16:colId xmlns:a16="http://schemas.microsoft.com/office/drawing/2014/main" val="3935184122"/>
                    </a:ext>
                  </a:extLst>
                </a:gridCol>
                <a:gridCol w="289192">
                  <a:extLst>
                    <a:ext uri="{9D8B030D-6E8A-4147-A177-3AD203B41FA5}">
                      <a16:colId xmlns:a16="http://schemas.microsoft.com/office/drawing/2014/main" val="1530070288"/>
                    </a:ext>
                  </a:extLst>
                </a:gridCol>
                <a:gridCol w="289192">
                  <a:extLst>
                    <a:ext uri="{9D8B030D-6E8A-4147-A177-3AD203B41FA5}">
                      <a16:colId xmlns:a16="http://schemas.microsoft.com/office/drawing/2014/main" val="1215842680"/>
                    </a:ext>
                  </a:extLst>
                </a:gridCol>
                <a:gridCol w="289192">
                  <a:extLst>
                    <a:ext uri="{9D8B030D-6E8A-4147-A177-3AD203B41FA5}">
                      <a16:colId xmlns:a16="http://schemas.microsoft.com/office/drawing/2014/main" val="2664049542"/>
                    </a:ext>
                  </a:extLst>
                </a:gridCol>
                <a:gridCol w="289192">
                  <a:extLst>
                    <a:ext uri="{9D8B030D-6E8A-4147-A177-3AD203B41FA5}">
                      <a16:colId xmlns:a16="http://schemas.microsoft.com/office/drawing/2014/main" val="1579644453"/>
                    </a:ext>
                  </a:extLst>
                </a:gridCol>
                <a:gridCol w="289192">
                  <a:extLst>
                    <a:ext uri="{9D8B030D-6E8A-4147-A177-3AD203B41FA5}">
                      <a16:colId xmlns:a16="http://schemas.microsoft.com/office/drawing/2014/main" val="533939474"/>
                    </a:ext>
                  </a:extLst>
                </a:gridCol>
                <a:gridCol w="289192">
                  <a:extLst>
                    <a:ext uri="{9D8B030D-6E8A-4147-A177-3AD203B41FA5}">
                      <a16:colId xmlns:a16="http://schemas.microsoft.com/office/drawing/2014/main" val="1606150655"/>
                    </a:ext>
                  </a:extLst>
                </a:gridCol>
                <a:gridCol w="289192">
                  <a:extLst>
                    <a:ext uri="{9D8B030D-6E8A-4147-A177-3AD203B41FA5}">
                      <a16:colId xmlns:a16="http://schemas.microsoft.com/office/drawing/2014/main" val="4260651027"/>
                    </a:ext>
                  </a:extLst>
                </a:gridCol>
                <a:gridCol w="289192">
                  <a:extLst>
                    <a:ext uri="{9D8B030D-6E8A-4147-A177-3AD203B41FA5}">
                      <a16:colId xmlns:a16="http://schemas.microsoft.com/office/drawing/2014/main" val="791483046"/>
                    </a:ext>
                  </a:extLst>
                </a:gridCol>
                <a:gridCol w="289192">
                  <a:extLst>
                    <a:ext uri="{9D8B030D-6E8A-4147-A177-3AD203B41FA5}">
                      <a16:colId xmlns:a16="http://schemas.microsoft.com/office/drawing/2014/main" val="2068805399"/>
                    </a:ext>
                  </a:extLst>
                </a:gridCol>
                <a:gridCol w="289192">
                  <a:extLst>
                    <a:ext uri="{9D8B030D-6E8A-4147-A177-3AD203B41FA5}">
                      <a16:colId xmlns:a16="http://schemas.microsoft.com/office/drawing/2014/main" val="2186211027"/>
                    </a:ext>
                  </a:extLst>
                </a:gridCol>
                <a:gridCol w="289192">
                  <a:extLst>
                    <a:ext uri="{9D8B030D-6E8A-4147-A177-3AD203B41FA5}">
                      <a16:colId xmlns:a16="http://schemas.microsoft.com/office/drawing/2014/main" val="2306255365"/>
                    </a:ext>
                  </a:extLst>
                </a:gridCol>
                <a:gridCol w="289192">
                  <a:extLst>
                    <a:ext uri="{9D8B030D-6E8A-4147-A177-3AD203B41FA5}">
                      <a16:colId xmlns:a16="http://schemas.microsoft.com/office/drawing/2014/main" val="521570417"/>
                    </a:ext>
                  </a:extLst>
                </a:gridCol>
                <a:gridCol w="289192">
                  <a:extLst>
                    <a:ext uri="{9D8B030D-6E8A-4147-A177-3AD203B41FA5}">
                      <a16:colId xmlns:a16="http://schemas.microsoft.com/office/drawing/2014/main" val="1657879331"/>
                    </a:ext>
                  </a:extLst>
                </a:gridCol>
                <a:gridCol w="289192">
                  <a:extLst>
                    <a:ext uri="{9D8B030D-6E8A-4147-A177-3AD203B41FA5}">
                      <a16:colId xmlns:a16="http://schemas.microsoft.com/office/drawing/2014/main" val="963724633"/>
                    </a:ext>
                  </a:extLst>
                </a:gridCol>
                <a:gridCol w="289192">
                  <a:extLst>
                    <a:ext uri="{9D8B030D-6E8A-4147-A177-3AD203B41FA5}">
                      <a16:colId xmlns:a16="http://schemas.microsoft.com/office/drawing/2014/main" val="10759159"/>
                    </a:ext>
                  </a:extLst>
                </a:gridCol>
                <a:gridCol w="289192">
                  <a:extLst>
                    <a:ext uri="{9D8B030D-6E8A-4147-A177-3AD203B41FA5}">
                      <a16:colId xmlns:a16="http://schemas.microsoft.com/office/drawing/2014/main" val="3711452119"/>
                    </a:ext>
                  </a:extLst>
                </a:gridCol>
              </a:tblGrid>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8898710"/>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9508191"/>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56244548"/>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7239788"/>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76323088"/>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1934324"/>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33681819"/>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3132587"/>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54912576"/>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297873"/>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79621420"/>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11468021"/>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72654601"/>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5397396"/>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1119529545"/>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3624522768"/>
                  </a:ext>
                </a:extLst>
              </a:tr>
            </a:tbl>
          </a:graphicData>
        </a:graphic>
      </p:graphicFrame>
      <p:sp>
        <p:nvSpPr>
          <p:cNvPr id="10" name="TextBox 9">
            <a:extLst>
              <a:ext uri="{FF2B5EF4-FFF2-40B4-BE49-F238E27FC236}">
                <a16:creationId xmlns:a16="http://schemas.microsoft.com/office/drawing/2014/main" id="{4A57E170-62D2-4098-8DB2-6FD3900A9676}"/>
              </a:ext>
            </a:extLst>
          </p:cNvPr>
          <p:cNvSpPr txBox="1"/>
          <p:nvPr/>
        </p:nvSpPr>
        <p:spPr>
          <a:xfrm>
            <a:off x="2674373" y="5496231"/>
            <a:ext cx="914400" cy="914400"/>
          </a:xfrm>
          <a:prstGeom prst="rect">
            <a:avLst/>
          </a:prstGeom>
          <a:noFill/>
        </p:spPr>
        <p:txBody>
          <a:bodyPr wrap="none" lIns="0" tIns="0" rIns="0" bIns="0" rtlCol="0">
            <a:noAutofit/>
          </a:bodyPr>
          <a:lstStyle/>
          <a:p>
            <a:pPr algn="ctr" defTabSz="228600">
              <a:spcAft>
                <a:spcPts val="1200"/>
              </a:spcAft>
            </a:pPr>
            <a:r>
              <a:rPr lang="en-US" sz="1200" noProof="0"/>
              <a:t>Warp path from lower resolution</a:t>
            </a:r>
            <a:endParaRPr lang="en-ID" sz="1200" noProof="0"/>
          </a:p>
        </p:txBody>
      </p:sp>
    </p:spTree>
    <p:extLst>
      <p:ext uri="{BB962C8B-B14F-4D97-AF65-F5344CB8AC3E}">
        <p14:creationId xmlns:p14="http://schemas.microsoft.com/office/powerpoint/2010/main" val="11533198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Expanding Resolution Windo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Add 2 cells to the edges of 2 blocks if a diagonal move was performed</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6</a:t>
            </a:fld>
            <a:endParaRPr lang="en-US"/>
          </a:p>
        </p:txBody>
      </p:sp>
      <p:graphicFrame>
        <p:nvGraphicFramePr>
          <p:cNvPr id="10" name="Table 9">
            <a:extLst>
              <a:ext uri="{FF2B5EF4-FFF2-40B4-BE49-F238E27FC236}">
                <a16:creationId xmlns:a16="http://schemas.microsoft.com/office/drawing/2014/main" id="{78F51A91-92AB-4E75-8FF6-E47BE33BB3F8}"/>
              </a:ext>
            </a:extLst>
          </p:cNvPr>
          <p:cNvGraphicFramePr>
            <a:graphicFrameLocks noGrp="1"/>
          </p:cNvGraphicFramePr>
          <p:nvPr>
            <p:extLst>
              <p:ext uri="{D42A27DB-BD31-4B8C-83A1-F6EECF244321}">
                <p14:modId xmlns:p14="http://schemas.microsoft.com/office/powerpoint/2010/main" val="3684026063"/>
              </p:ext>
            </p:extLst>
          </p:nvPr>
        </p:nvGraphicFramePr>
        <p:xfrm>
          <a:off x="1902716" y="1619042"/>
          <a:ext cx="8386568" cy="4935536"/>
        </p:xfrm>
        <a:graphic>
          <a:graphicData uri="http://schemas.openxmlformats.org/drawingml/2006/table">
            <a:tbl>
              <a:tblPr/>
              <a:tblGrid>
                <a:gridCol w="289192">
                  <a:extLst>
                    <a:ext uri="{9D8B030D-6E8A-4147-A177-3AD203B41FA5}">
                      <a16:colId xmlns:a16="http://schemas.microsoft.com/office/drawing/2014/main" val="3473882801"/>
                    </a:ext>
                  </a:extLst>
                </a:gridCol>
                <a:gridCol w="289192">
                  <a:extLst>
                    <a:ext uri="{9D8B030D-6E8A-4147-A177-3AD203B41FA5}">
                      <a16:colId xmlns:a16="http://schemas.microsoft.com/office/drawing/2014/main" val="3682308153"/>
                    </a:ext>
                  </a:extLst>
                </a:gridCol>
                <a:gridCol w="289192">
                  <a:extLst>
                    <a:ext uri="{9D8B030D-6E8A-4147-A177-3AD203B41FA5}">
                      <a16:colId xmlns:a16="http://schemas.microsoft.com/office/drawing/2014/main" val="139650942"/>
                    </a:ext>
                  </a:extLst>
                </a:gridCol>
                <a:gridCol w="289192">
                  <a:extLst>
                    <a:ext uri="{9D8B030D-6E8A-4147-A177-3AD203B41FA5}">
                      <a16:colId xmlns:a16="http://schemas.microsoft.com/office/drawing/2014/main" val="1279690815"/>
                    </a:ext>
                  </a:extLst>
                </a:gridCol>
                <a:gridCol w="289192">
                  <a:extLst>
                    <a:ext uri="{9D8B030D-6E8A-4147-A177-3AD203B41FA5}">
                      <a16:colId xmlns:a16="http://schemas.microsoft.com/office/drawing/2014/main" val="1105406966"/>
                    </a:ext>
                  </a:extLst>
                </a:gridCol>
                <a:gridCol w="289192">
                  <a:extLst>
                    <a:ext uri="{9D8B030D-6E8A-4147-A177-3AD203B41FA5}">
                      <a16:colId xmlns:a16="http://schemas.microsoft.com/office/drawing/2014/main" val="1718427238"/>
                    </a:ext>
                  </a:extLst>
                </a:gridCol>
                <a:gridCol w="289192">
                  <a:extLst>
                    <a:ext uri="{9D8B030D-6E8A-4147-A177-3AD203B41FA5}">
                      <a16:colId xmlns:a16="http://schemas.microsoft.com/office/drawing/2014/main" val="1599524274"/>
                    </a:ext>
                  </a:extLst>
                </a:gridCol>
                <a:gridCol w="289192">
                  <a:extLst>
                    <a:ext uri="{9D8B030D-6E8A-4147-A177-3AD203B41FA5}">
                      <a16:colId xmlns:a16="http://schemas.microsoft.com/office/drawing/2014/main" val="2885923829"/>
                    </a:ext>
                  </a:extLst>
                </a:gridCol>
                <a:gridCol w="289192">
                  <a:extLst>
                    <a:ext uri="{9D8B030D-6E8A-4147-A177-3AD203B41FA5}">
                      <a16:colId xmlns:a16="http://schemas.microsoft.com/office/drawing/2014/main" val="3211442976"/>
                    </a:ext>
                  </a:extLst>
                </a:gridCol>
                <a:gridCol w="289192">
                  <a:extLst>
                    <a:ext uri="{9D8B030D-6E8A-4147-A177-3AD203B41FA5}">
                      <a16:colId xmlns:a16="http://schemas.microsoft.com/office/drawing/2014/main" val="1784240389"/>
                    </a:ext>
                  </a:extLst>
                </a:gridCol>
                <a:gridCol w="289192">
                  <a:extLst>
                    <a:ext uri="{9D8B030D-6E8A-4147-A177-3AD203B41FA5}">
                      <a16:colId xmlns:a16="http://schemas.microsoft.com/office/drawing/2014/main" val="3146102338"/>
                    </a:ext>
                  </a:extLst>
                </a:gridCol>
                <a:gridCol w="289192">
                  <a:extLst>
                    <a:ext uri="{9D8B030D-6E8A-4147-A177-3AD203B41FA5}">
                      <a16:colId xmlns:a16="http://schemas.microsoft.com/office/drawing/2014/main" val="3237550841"/>
                    </a:ext>
                  </a:extLst>
                </a:gridCol>
                <a:gridCol w="289192">
                  <a:extLst>
                    <a:ext uri="{9D8B030D-6E8A-4147-A177-3AD203B41FA5}">
                      <a16:colId xmlns:a16="http://schemas.microsoft.com/office/drawing/2014/main" val="3718558809"/>
                    </a:ext>
                  </a:extLst>
                </a:gridCol>
                <a:gridCol w="289192">
                  <a:extLst>
                    <a:ext uri="{9D8B030D-6E8A-4147-A177-3AD203B41FA5}">
                      <a16:colId xmlns:a16="http://schemas.microsoft.com/office/drawing/2014/main" val="1104259712"/>
                    </a:ext>
                  </a:extLst>
                </a:gridCol>
                <a:gridCol w="289192">
                  <a:extLst>
                    <a:ext uri="{9D8B030D-6E8A-4147-A177-3AD203B41FA5}">
                      <a16:colId xmlns:a16="http://schemas.microsoft.com/office/drawing/2014/main" val="2526824072"/>
                    </a:ext>
                  </a:extLst>
                </a:gridCol>
                <a:gridCol w="289192">
                  <a:extLst>
                    <a:ext uri="{9D8B030D-6E8A-4147-A177-3AD203B41FA5}">
                      <a16:colId xmlns:a16="http://schemas.microsoft.com/office/drawing/2014/main" val="2777817458"/>
                    </a:ext>
                  </a:extLst>
                </a:gridCol>
                <a:gridCol w="289192">
                  <a:extLst>
                    <a:ext uri="{9D8B030D-6E8A-4147-A177-3AD203B41FA5}">
                      <a16:colId xmlns:a16="http://schemas.microsoft.com/office/drawing/2014/main" val="3290187758"/>
                    </a:ext>
                  </a:extLst>
                </a:gridCol>
                <a:gridCol w="289192">
                  <a:extLst>
                    <a:ext uri="{9D8B030D-6E8A-4147-A177-3AD203B41FA5}">
                      <a16:colId xmlns:a16="http://schemas.microsoft.com/office/drawing/2014/main" val="1156360140"/>
                    </a:ext>
                  </a:extLst>
                </a:gridCol>
                <a:gridCol w="289192">
                  <a:extLst>
                    <a:ext uri="{9D8B030D-6E8A-4147-A177-3AD203B41FA5}">
                      <a16:colId xmlns:a16="http://schemas.microsoft.com/office/drawing/2014/main" val="1803852887"/>
                    </a:ext>
                  </a:extLst>
                </a:gridCol>
                <a:gridCol w="289192">
                  <a:extLst>
                    <a:ext uri="{9D8B030D-6E8A-4147-A177-3AD203B41FA5}">
                      <a16:colId xmlns:a16="http://schemas.microsoft.com/office/drawing/2014/main" val="67231243"/>
                    </a:ext>
                  </a:extLst>
                </a:gridCol>
                <a:gridCol w="289192">
                  <a:extLst>
                    <a:ext uri="{9D8B030D-6E8A-4147-A177-3AD203B41FA5}">
                      <a16:colId xmlns:a16="http://schemas.microsoft.com/office/drawing/2014/main" val="1565056270"/>
                    </a:ext>
                  </a:extLst>
                </a:gridCol>
                <a:gridCol w="289192">
                  <a:extLst>
                    <a:ext uri="{9D8B030D-6E8A-4147-A177-3AD203B41FA5}">
                      <a16:colId xmlns:a16="http://schemas.microsoft.com/office/drawing/2014/main" val="4254089696"/>
                    </a:ext>
                  </a:extLst>
                </a:gridCol>
                <a:gridCol w="289192">
                  <a:extLst>
                    <a:ext uri="{9D8B030D-6E8A-4147-A177-3AD203B41FA5}">
                      <a16:colId xmlns:a16="http://schemas.microsoft.com/office/drawing/2014/main" val="1594388070"/>
                    </a:ext>
                  </a:extLst>
                </a:gridCol>
                <a:gridCol w="289192">
                  <a:extLst>
                    <a:ext uri="{9D8B030D-6E8A-4147-A177-3AD203B41FA5}">
                      <a16:colId xmlns:a16="http://schemas.microsoft.com/office/drawing/2014/main" val="610418726"/>
                    </a:ext>
                  </a:extLst>
                </a:gridCol>
                <a:gridCol w="289192">
                  <a:extLst>
                    <a:ext uri="{9D8B030D-6E8A-4147-A177-3AD203B41FA5}">
                      <a16:colId xmlns:a16="http://schemas.microsoft.com/office/drawing/2014/main" val="3337272806"/>
                    </a:ext>
                  </a:extLst>
                </a:gridCol>
                <a:gridCol w="289192">
                  <a:extLst>
                    <a:ext uri="{9D8B030D-6E8A-4147-A177-3AD203B41FA5}">
                      <a16:colId xmlns:a16="http://schemas.microsoft.com/office/drawing/2014/main" val="2820617009"/>
                    </a:ext>
                  </a:extLst>
                </a:gridCol>
                <a:gridCol w="289192">
                  <a:extLst>
                    <a:ext uri="{9D8B030D-6E8A-4147-A177-3AD203B41FA5}">
                      <a16:colId xmlns:a16="http://schemas.microsoft.com/office/drawing/2014/main" val="3332842190"/>
                    </a:ext>
                  </a:extLst>
                </a:gridCol>
                <a:gridCol w="289192">
                  <a:extLst>
                    <a:ext uri="{9D8B030D-6E8A-4147-A177-3AD203B41FA5}">
                      <a16:colId xmlns:a16="http://schemas.microsoft.com/office/drawing/2014/main" val="619522436"/>
                    </a:ext>
                  </a:extLst>
                </a:gridCol>
                <a:gridCol w="289192">
                  <a:extLst>
                    <a:ext uri="{9D8B030D-6E8A-4147-A177-3AD203B41FA5}">
                      <a16:colId xmlns:a16="http://schemas.microsoft.com/office/drawing/2014/main" val="326519332"/>
                    </a:ext>
                  </a:extLst>
                </a:gridCol>
              </a:tblGrid>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22551232"/>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29483466"/>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7884050"/>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38331561"/>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1824097"/>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43443634"/>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2238939"/>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43751517"/>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08671525"/>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80065340"/>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9520397"/>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0250755"/>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98532353"/>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1823296"/>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2899270456"/>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239393471"/>
                  </a:ext>
                </a:extLst>
              </a:tr>
            </a:tbl>
          </a:graphicData>
        </a:graphic>
      </p:graphicFrame>
      <p:sp>
        <p:nvSpPr>
          <p:cNvPr id="11" name="TextBox 10">
            <a:extLst>
              <a:ext uri="{FF2B5EF4-FFF2-40B4-BE49-F238E27FC236}">
                <a16:creationId xmlns:a16="http://schemas.microsoft.com/office/drawing/2014/main" id="{138E3085-43C3-492F-96E0-255135A8278E}"/>
              </a:ext>
            </a:extLst>
          </p:cNvPr>
          <p:cNvSpPr txBox="1"/>
          <p:nvPr/>
        </p:nvSpPr>
        <p:spPr>
          <a:xfrm>
            <a:off x="2674373" y="5496231"/>
            <a:ext cx="914400" cy="914400"/>
          </a:xfrm>
          <a:prstGeom prst="rect">
            <a:avLst/>
          </a:prstGeom>
          <a:noFill/>
        </p:spPr>
        <p:txBody>
          <a:bodyPr wrap="none" lIns="0" tIns="0" rIns="0" bIns="0" rtlCol="0">
            <a:noAutofit/>
          </a:bodyPr>
          <a:lstStyle/>
          <a:p>
            <a:pPr algn="ctr" defTabSz="228600">
              <a:spcAft>
                <a:spcPts val="1200"/>
              </a:spcAft>
            </a:pPr>
            <a:r>
              <a:rPr lang="en-US" sz="1200" noProof="0"/>
              <a:t>Warp path from lower resolution</a:t>
            </a:r>
            <a:endParaRPr lang="en-ID" sz="1200" noProof="0"/>
          </a:p>
        </p:txBody>
      </p:sp>
    </p:spTree>
    <p:extLst>
      <p:ext uri="{BB962C8B-B14F-4D97-AF65-F5344CB8AC3E}">
        <p14:creationId xmlns:p14="http://schemas.microsoft.com/office/powerpoint/2010/main" val="16890527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Expanding Resolution Window</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Add cells with width </a:t>
            </a:r>
            <a:r>
              <a:rPr lang="en-US" i="1"/>
              <a:t>r</a:t>
            </a:r>
            <a:r>
              <a:rPr lang="en-US"/>
              <a:t> to surround the expanded window</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7</a:t>
            </a:fld>
            <a:endParaRPr lang="en-US"/>
          </a:p>
        </p:txBody>
      </p:sp>
      <p:graphicFrame>
        <p:nvGraphicFramePr>
          <p:cNvPr id="8" name="Table 7">
            <a:extLst>
              <a:ext uri="{FF2B5EF4-FFF2-40B4-BE49-F238E27FC236}">
                <a16:creationId xmlns:a16="http://schemas.microsoft.com/office/drawing/2014/main" id="{909B2905-60F0-4414-9A10-DBEE2D7765E2}"/>
              </a:ext>
            </a:extLst>
          </p:cNvPr>
          <p:cNvGraphicFramePr>
            <a:graphicFrameLocks noGrp="1"/>
          </p:cNvGraphicFramePr>
          <p:nvPr>
            <p:extLst>
              <p:ext uri="{D42A27DB-BD31-4B8C-83A1-F6EECF244321}">
                <p14:modId xmlns:p14="http://schemas.microsoft.com/office/powerpoint/2010/main" val="182307213"/>
              </p:ext>
            </p:extLst>
          </p:nvPr>
        </p:nvGraphicFramePr>
        <p:xfrm>
          <a:off x="1902716" y="1619042"/>
          <a:ext cx="8386568" cy="4935536"/>
        </p:xfrm>
        <a:graphic>
          <a:graphicData uri="http://schemas.openxmlformats.org/drawingml/2006/table">
            <a:tbl>
              <a:tblPr/>
              <a:tblGrid>
                <a:gridCol w="289192">
                  <a:extLst>
                    <a:ext uri="{9D8B030D-6E8A-4147-A177-3AD203B41FA5}">
                      <a16:colId xmlns:a16="http://schemas.microsoft.com/office/drawing/2014/main" val="3745127998"/>
                    </a:ext>
                  </a:extLst>
                </a:gridCol>
                <a:gridCol w="289192">
                  <a:extLst>
                    <a:ext uri="{9D8B030D-6E8A-4147-A177-3AD203B41FA5}">
                      <a16:colId xmlns:a16="http://schemas.microsoft.com/office/drawing/2014/main" val="641701854"/>
                    </a:ext>
                  </a:extLst>
                </a:gridCol>
                <a:gridCol w="289192">
                  <a:extLst>
                    <a:ext uri="{9D8B030D-6E8A-4147-A177-3AD203B41FA5}">
                      <a16:colId xmlns:a16="http://schemas.microsoft.com/office/drawing/2014/main" val="1676496285"/>
                    </a:ext>
                  </a:extLst>
                </a:gridCol>
                <a:gridCol w="289192">
                  <a:extLst>
                    <a:ext uri="{9D8B030D-6E8A-4147-A177-3AD203B41FA5}">
                      <a16:colId xmlns:a16="http://schemas.microsoft.com/office/drawing/2014/main" val="664841021"/>
                    </a:ext>
                  </a:extLst>
                </a:gridCol>
                <a:gridCol w="289192">
                  <a:extLst>
                    <a:ext uri="{9D8B030D-6E8A-4147-A177-3AD203B41FA5}">
                      <a16:colId xmlns:a16="http://schemas.microsoft.com/office/drawing/2014/main" val="242012850"/>
                    </a:ext>
                  </a:extLst>
                </a:gridCol>
                <a:gridCol w="289192">
                  <a:extLst>
                    <a:ext uri="{9D8B030D-6E8A-4147-A177-3AD203B41FA5}">
                      <a16:colId xmlns:a16="http://schemas.microsoft.com/office/drawing/2014/main" val="1544244509"/>
                    </a:ext>
                  </a:extLst>
                </a:gridCol>
                <a:gridCol w="289192">
                  <a:extLst>
                    <a:ext uri="{9D8B030D-6E8A-4147-A177-3AD203B41FA5}">
                      <a16:colId xmlns:a16="http://schemas.microsoft.com/office/drawing/2014/main" val="1408012771"/>
                    </a:ext>
                  </a:extLst>
                </a:gridCol>
                <a:gridCol w="289192">
                  <a:extLst>
                    <a:ext uri="{9D8B030D-6E8A-4147-A177-3AD203B41FA5}">
                      <a16:colId xmlns:a16="http://schemas.microsoft.com/office/drawing/2014/main" val="2261685102"/>
                    </a:ext>
                  </a:extLst>
                </a:gridCol>
                <a:gridCol w="289192">
                  <a:extLst>
                    <a:ext uri="{9D8B030D-6E8A-4147-A177-3AD203B41FA5}">
                      <a16:colId xmlns:a16="http://schemas.microsoft.com/office/drawing/2014/main" val="319965576"/>
                    </a:ext>
                  </a:extLst>
                </a:gridCol>
                <a:gridCol w="289192">
                  <a:extLst>
                    <a:ext uri="{9D8B030D-6E8A-4147-A177-3AD203B41FA5}">
                      <a16:colId xmlns:a16="http://schemas.microsoft.com/office/drawing/2014/main" val="3879947178"/>
                    </a:ext>
                  </a:extLst>
                </a:gridCol>
                <a:gridCol w="289192">
                  <a:extLst>
                    <a:ext uri="{9D8B030D-6E8A-4147-A177-3AD203B41FA5}">
                      <a16:colId xmlns:a16="http://schemas.microsoft.com/office/drawing/2014/main" val="1981240408"/>
                    </a:ext>
                  </a:extLst>
                </a:gridCol>
                <a:gridCol w="289192">
                  <a:extLst>
                    <a:ext uri="{9D8B030D-6E8A-4147-A177-3AD203B41FA5}">
                      <a16:colId xmlns:a16="http://schemas.microsoft.com/office/drawing/2014/main" val="421215277"/>
                    </a:ext>
                  </a:extLst>
                </a:gridCol>
                <a:gridCol w="289192">
                  <a:extLst>
                    <a:ext uri="{9D8B030D-6E8A-4147-A177-3AD203B41FA5}">
                      <a16:colId xmlns:a16="http://schemas.microsoft.com/office/drawing/2014/main" val="181552780"/>
                    </a:ext>
                  </a:extLst>
                </a:gridCol>
                <a:gridCol w="289192">
                  <a:extLst>
                    <a:ext uri="{9D8B030D-6E8A-4147-A177-3AD203B41FA5}">
                      <a16:colId xmlns:a16="http://schemas.microsoft.com/office/drawing/2014/main" val="311469955"/>
                    </a:ext>
                  </a:extLst>
                </a:gridCol>
                <a:gridCol w="289192">
                  <a:extLst>
                    <a:ext uri="{9D8B030D-6E8A-4147-A177-3AD203B41FA5}">
                      <a16:colId xmlns:a16="http://schemas.microsoft.com/office/drawing/2014/main" val="1372074005"/>
                    </a:ext>
                  </a:extLst>
                </a:gridCol>
                <a:gridCol w="289192">
                  <a:extLst>
                    <a:ext uri="{9D8B030D-6E8A-4147-A177-3AD203B41FA5}">
                      <a16:colId xmlns:a16="http://schemas.microsoft.com/office/drawing/2014/main" val="1673466829"/>
                    </a:ext>
                  </a:extLst>
                </a:gridCol>
                <a:gridCol w="289192">
                  <a:extLst>
                    <a:ext uri="{9D8B030D-6E8A-4147-A177-3AD203B41FA5}">
                      <a16:colId xmlns:a16="http://schemas.microsoft.com/office/drawing/2014/main" val="1358814642"/>
                    </a:ext>
                  </a:extLst>
                </a:gridCol>
                <a:gridCol w="289192">
                  <a:extLst>
                    <a:ext uri="{9D8B030D-6E8A-4147-A177-3AD203B41FA5}">
                      <a16:colId xmlns:a16="http://schemas.microsoft.com/office/drawing/2014/main" val="4290628311"/>
                    </a:ext>
                  </a:extLst>
                </a:gridCol>
                <a:gridCol w="289192">
                  <a:extLst>
                    <a:ext uri="{9D8B030D-6E8A-4147-A177-3AD203B41FA5}">
                      <a16:colId xmlns:a16="http://schemas.microsoft.com/office/drawing/2014/main" val="2237864151"/>
                    </a:ext>
                  </a:extLst>
                </a:gridCol>
                <a:gridCol w="289192">
                  <a:extLst>
                    <a:ext uri="{9D8B030D-6E8A-4147-A177-3AD203B41FA5}">
                      <a16:colId xmlns:a16="http://schemas.microsoft.com/office/drawing/2014/main" val="1110661462"/>
                    </a:ext>
                  </a:extLst>
                </a:gridCol>
                <a:gridCol w="289192">
                  <a:extLst>
                    <a:ext uri="{9D8B030D-6E8A-4147-A177-3AD203B41FA5}">
                      <a16:colId xmlns:a16="http://schemas.microsoft.com/office/drawing/2014/main" val="985971199"/>
                    </a:ext>
                  </a:extLst>
                </a:gridCol>
                <a:gridCol w="289192">
                  <a:extLst>
                    <a:ext uri="{9D8B030D-6E8A-4147-A177-3AD203B41FA5}">
                      <a16:colId xmlns:a16="http://schemas.microsoft.com/office/drawing/2014/main" val="2428587546"/>
                    </a:ext>
                  </a:extLst>
                </a:gridCol>
                <a:gridCol w="289192">
                  <a:extLst>
                    <a:ext uri="{9D8B030D-6E8A-4147-A177-3AD203B41FA5}">
                      <a16:colId xmlns:a16="http://schemas.microsoft.com/office/drawing/2014/main" val="4112380202"/>
                    </a:ext>
                  </a:extLst>
                </a:gridCol>
                <a:gridCol w="289192">
                  <a:extLst>
                    <a:ext uri="{9D8B030D-6E8A-4147-A177-3AD203B41FA5}">
                      <a16:colId xmlns:a16="http://schemas.microsoft.com/office/drawing/2014/main" val="1335790758"/>
                    </a:ext>
                  </a:extLst>
                </a:gridCol>
                <a:gridCol w="289192">
                  <a:extLst>
                    <a:ext uri="{9D8B030D-6E8A-4147-A177-3AD203B41FA5}">
                      <a16:colId xmlns:a16="http://schemas.microsoft.com/office/drawing/2014/main" val="1677374465"/>
                    </a:ext>
                  </a:extLst>
                </a:gridCol>
                <a:gridCol w="289192">
                  <a:extLst>
                    <a:ext uri="{9D8B030D-6E8A-4147-A177-3AD203B41FA5}">
                      <a16:colId xmlns:a16="http://schemas.microsoft.com/office/drawing/2014/main" val="2874510129"/>
                    </a:ext>
                  </a:extLst>
                </a:gridCol>
                <a:gridCol w="289192">
                  <a:extLst>
                    <a:ext uri="{9D8B030D-6E8A-4147-A177-3AD203B41FA5}">
                      <a16:colId xmlns:a16="http://schemas.microsoft.com/office/drawing/2014/main" val="4241313419"/>
                    </a:ext>
                  </a:extLst>
                </a:gridCol>
                <a:gridCol w="289192">
                  <a:extLst>
                    <a:ext uri="{9D8B030D-6E8A-4147-A177-3AD203B41FA5}">
                      <a16:colId xmlns:a16="http://schemas.microsoft.com/office/drawing/2014/main" val="2234515004"/>
                    </a:ext>
                  </a:extLst>
                </a:gridCol>
                <a:gridCol w="289192">
                  <a:extLst>
                    <a:ext uri="{9D8B030D-6E8A-4147-A177-3AD203B41FA5}">
                      <a16:colId xmlns:a16="http://schemas.microsoft.com/office/drawing/2014/main" val="159407180"/>
                    </a:ext>
                  </a:extLst>
                </a:gridCol>
              </a:tblGrid>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8827337"/>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99699884"/>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4248758"/>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18317371"/>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4126300"/>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4072153"/>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47613219"/>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5442501"/>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25098341"/>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4003121"/>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9385572"/>
                  </a:ext>
                </a:extLst>
              </a:tr>
              <a:tr h="308471">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2711899"/>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7131642"/>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extLst>
                  <a:ext uri="{0D108BD9-81ED-4DB2-BD59-A6C34878D82A}">
                    <a16:rowId xmlns:a16="http://schemas.microsoft.com/office/drawing/2014/main" val="1081394838"/>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AA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2767189507"/>
                  </a:ext>
                </a:extLst>
              </a:tr>
              <a:tr h="308471">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a:noFill/>
                    </a:lnR>
                    <a:lnT>
                      <a:noFill/>
                    </a:lnT>
                    <a:lnB>
                      <a:noFill/>
                    </a:lnB>
                  </a:tcPr>
                </a:tc>
                <a:tc>
                  <a:txBody>
                    <a:bodyPr/>
                    <a:lstStyle/>
                    <a:p>
                      <a:pPr algn="l" fontAlgn="b"/>
                      <a:endParaRPr lang="en-ID" sz="900" b="0" i="0" u="none" strike="noStrike">
                        <a:solidFill>
                          <a:srgbClr val="000000"/>
                        </a:solidFill>
                        <a:effectLst/>
                        <a:latin typeface="Calibri" panose="020F0502020204030204" pitchFamily="34" charset="0"/>
                      </a:endParaRPr>
                    </a:p>
                  </a:txBody>
                  <a:tcPr marL="6426" marR="6426" marT="64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ID" sz="900" b="0" i="0" u="none" strike="noStrike">
                          <a:solidFill>
                            <a:srgbClr val="000000"/>
                          </a:solidFill>
                          <a:effectLst/>
                          <a:latin typeface="Calibri" panose="020F0502020204030204" pitchFamily="34" charset="0"/>
                        </a:rPr>
                        <a:t> </a:t>
                      </a:r>
                    </a:p>
                  </a:txBody>
                  <a:tcPr marL="6426" marR="6426" marT="6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FAA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tc>
                  <a:txBody>
                    <a:bodyPr/>
                    <a:lstStyle/>
                    <a:p>
                      <a:pPr algn="ctr" rtl="0" fontAlgn="ctr"/>
                      <a:r>
                        <a:rPr lang="en-ID" sz="900" b="0" i="0" u="none" strike="noStrike">
                          <a:solidFill>
                            <a:srgbClr val="000000"/>
                          </a:solidFill>
                          <a:effectLst/>
                          <a:latin typeface="Graphik" panose="020B0503030202060203" pitchFamily="34" charset="0"/>
                        </a:rPr>
                        <a:t> </a:t>
                      </a:r>
                    </a:p>
                  </a:txBody>
                  <a:tcPr marL="6426" marR="6426" marT="64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966FF"/>
                    </a:solidFill>
                  </a:tcPr>
                </a:tc>
                <a:extLst>
                  <a:ext uri="{0D108BD9-81ED-4DB2-BD59-A6C34878D82A}">
                    <a16:rowId xmlns:a16="http://schemas.microsoft.com/office/drawing/2014/main" val="945172954"/>
                  </a:ext>
                </a:extLst>
              </a:tr>
            </a:tbl>
          </a:graphicData>
        </a:graphic>
      </p:graphicFrame>
      <p:sp>
        <p:nvSpPr>
          <p:cNvPr id="9" name="TextBox 8">
            <a:extLst>
              <a:ext uri="{FF2B5EF4-FFF2-40B4-BE49-F238E27FC236}">
                <a16:creationId xmlns:a16="http://schemas.microsoft.com/office/drawing/2014/main" id="{D79AD086-E9D6-4576-9F3C-54B6AD5DF166}"/>
              </a:ext>
            </a:extLst>
          </p:cNvPr>
          <p:cNvSpPr txBox="1"/>
          <p:nvPr/>
        </p:nvSpPr>
        <p:spPr>
          <a:xfrm>
            <a:off x="2674373" y="5496231"/>
            <a:ext cx="914400" cy="914400"/>
          </a:xfrm>
          <a:prstGeom prst="rect">
            <a:avLst/>
          </a:prstGeom>
          <a:noFill/>
        </p:spPr>
        <p:txBody>
          <a:bodyPr wrap="none" lIns="0" tIns="0" rIns="0" bIns="0" rtlCol="0">
            <a:noAutofit/>
          </a:bodyPr>
          <a:lstStyle/>
          <a:p>
            <a:pPr algn="ctr" defTabSz="228600">
              <a:spcAft>
                <a:spcPts val="1200"/>
              </a:spcAft>
            </a:pPr>
            <a:r>
              <a:rPr lang="en-US" sz="1200" noProof="0"/>
              <a:t>Warp path from lower resolution</a:t>
            </a:r>
            <a:endParaRPr lang="en-ID" sz="1200" noProof="0"/>
          </a:p>
        </p:txBody>
      </p:sp>
    </p:spTree>
    <p:extLst>
      <p:ext uri="{BB962C8B-B14F-4D97-AF65-F5344CB8AC3E}">
        <p14:creationId xmlns:p14="http://schemas.microsoft.com/office/powerpoint/2010/main" val="39395720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Python Implementation</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Using Only </a:t>
            </a:r>
            <a:r>
              <a:rPr lang="en-US" err="1"/>
              <a:t>Numpy</a:t>
            </a:r>
            <a:r>
              <a:rPr lang="en-US"/>
              <a:t> and </a:t>
            </a:r>
            <a:r>
              <a:rPr lang="en-US" err="1"/>
              <a:t>Numba</a:t>
            </a:r>
            <a:endParaRPr lang="en-US"/>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t>Why </a:t>
            </a:r>
            <a:r>
              <a:rPr lang="en-US" err="1"/>
              <a:t>Numba</a:t>
            </a:r>
            <a:r>
              <a:rPr lang="en-US"/>
              <a:t>?</a:t>
            </a:r>
            <a:br>
              <a:rPr lang="en-US"/>
            </a:br>
            <a:r>
              <a:rPr lang="en-US" b="0" i="0" err="1">
                <a:solidFill>
                  <a:srgbClr val="343A40"/>
                </a:solidFill>
                <a:effectLst/>
                <a:latin typeface="Graphik" panose="020B0503030202060203" pitchFamily="34" charset="0"/>
              </a:rPr>
              <a:t>Numba</a:t>
            </a:r>
            <a:r>
              <a:rPr lang="en-US" b="0" i="0">
                <a:solidFill>
                  <a:srgbClr val="343A40"/>
                </a:solidFill>
                <a:effectLst/>
                <a:latin typeface="Graphik" panose="020B0503030202060203" pitchFamily="34" charset="0"/>
              </a:rPr>
              <a:t> is an open source JIT compiler that translates a subset of Python and NumPy code into fast machine code</a:t>
            </a:r>
          </a:p>
          <a:p>
            <a:endParaRPr lang="en-US">
              <a:solidFill>
                <a:srgbClr val="343A40"/>
              </a:solidFill>
              <a:latin typeface="Graphik" panose="020B0503030202060203" pitchFamily="34" charset="0"/>
            </a:endParaRPr>
          </a:p>
          <a:p>
            <a:r>
              <a:rPr lang="en-US">
                <a:solidFill>
                  <a:srgbClr val="343A40"/>
                </a:solidFill>
                <a:latin typeface="Graphik" panose="020B0503030202060203" pitchFamily="34" charset="0"/>
              </a:rPr>
              <a:t>What’s this so called JIT compiler?</a:t>
            </a:r>
            <a:br>
              <a:rPr lang="en-US">
                <a:solidFill>
                  <a:srgbClr val="343A40"/>
                </a:solidFill>
                <a:latin typeface="Graphik" panose="020B0503030202060203" pitchFamily="34" charset="0"/>
              </a:rPr>
            </a:br>
            <a:r>
              <a:rPr lang="en-US">
                <a:solidFill>
                  <a:srgbClr val="343A40"/>
                </a:solidFill>
                <a:latin typeface="Graphik" panose="020B0503030202060203" pitchFamily="34" charset="0"/>
              </a:rPr>
              <a:t>JIT stands for just-in-time. The JIT compiler compiles the code during execution or at run time rather than before execution (ahead-of-time compilation like in C/C++)</a:t>
            </a:r>
            <a:endParaRPr lang="en-US">
              <a:latin typeface="Graphik" panose="020B0503030202060203" pitchFamily="34" charset="0"/>
            </a:endParaRP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8</a:t>
            </a:fld>
            <a:endParaRPr lang="en-US"/>
          </a:p>
        </p:txBody>
      </p:sp>
    </p:spTree>
    <p:extLst>
      <p:ext uri="{BB962C8B-B14F-4D97-AF65-F5344CB8AC3E}">
        <p14:creationId xmlns:p14="http://schemas.microsoft.com/office/powerpoint/2010/main" val="1250134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8F62344F-36AC-4379-9BE4-3098F56719A9}"/>
              </a:ext>
            </a:extLst>
          </p:cNvPr>
          <p:cNvPicPr>
            <a:picLocks noChangeAspect="1"/>
          </p:cNvPicPr>
          <p:nvPr/>
        </p:nvPicPr>
        <p:blipFill>
          <a:blip r:embed="rId2"/>
          <a:stretch>
            <a:fillRect/>
          </a:stretch>
        </p:blipFill>
        <p:spPr>
          <a:xfrm>
            <a:off x="1457325" y="1943100"/>
            <a:ext cx="9277350" cy="2971800"/>
          </a:xfrm>
          <a:prstGeom prst="rect">
            <a:avLst/>
          </a:prstGeom>
        </p:spPr>
      </p:pic>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100 Runs Experiment Statistics</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Finding The Distance and Path Between 2 Time Series of Length 1000 for 100 Times</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39</a:t>
            </a:fld>
            <a:endParaRPr lang="en-US"/>
          </a:p>
        </p:txBody>
      </p:sp>
      <p:sp>
        <p:nvSpPr>
          <p:cNvPr id="8" name="Rectangle 7">
            <a:extLst>
              <a:ext uri="{FF2B5EF4-FFF2-40B4-BE49-F238E27FC236}">
                <a16:creationId xmlns:a16="http://schemas.microsoft.com/office/drawing/2014/main" id="{1789CA92-7CAB-4312-A699-4D7AAC6C3006}"/>
              </a:ext>
            </a:extLst>
          </p:cNvPr>
          <p:cNvSpPr/>
          <p:nvPr/>
        </p:nvSpPr>
        <p:spPr>
          <a:xfrm>
            <a:off x="5406013" y="2562330"/>
            <a:ext cx="2069961" cy="321547"/>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sp>
        <p:nvSpPr>
          <p:cNvPr id="9" name="Rectangle 8">
            <a:extLst>
              <a:ext uri="{FF2B5EF4-FFF2-40B4-BE49-F238E27FC236}">
                <a16:creationId xmlns:a16="http://schemas.microsoft.com/office/drawing/2014/main" id="{55DD5438-C668-4D85-AD3A-20262857E7C9}"/>
              </a:ext>
            </a:extLst>
          </p:cNvPr>
          <p:cNvSpPr/>
          <p:nvPr/>
        </p:nvSpPr>
        <p:spPr>
          <a:xfrm>
            <a:off x="8655189" y="2553956"/>
            <a:ext cx="2069961" cy="321547"/>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endParaRPr lang="en-ID" err="1"/>
          </a:p>
        </p:txBody>
      </p:sp>
      <p:sp>
        <p:nvSpPr>
          <p:cNvPr id="10" name="Rectangle 9">
            <a:extLst>
              <a:ext uri="{FF2B5EF4-FFF2-40B4-BE49-F238E27FC236}">
                <a16:creationId xmlns:a16="http://schemas.microsoft.com/office/drawing/2014/main" id="{D29784B9-C309-448C-8283-75EEAD17B34B}"/>
              </a:ext>
            </a:extLst>
          </p:cNvPr>
          <p:cNvSpPr/>
          <p:nvPr/>
        </p:nvSpPr>
        <p:spPr>
          <a:xfrm>
            <a:off x="5406013" y="5166672"/>
            <a:ext cx="2069961" cy="10079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r>
              <a:rPr lang="en-US" sz="1400" b="1">
                <a:solidFill>
                  <a:schemeClr val="tx1"/>
                </a:solidFill>
              </a:rPr>
              <a:t>Fast DTW runs slower than DTW with </a:t>
            </a:r>
            <a:r>
              <a:rPr lang="en-US" sz="1400" b="1" err="1">
                <a:solidFill>
                  <a:schemeClr val="tx1"/>
                </a:solidFill>
              </a:rPr>
              <a:t>Sakoe</a:t>
            </a:r>
            <a:r>
              <a:rPr lang="en-US" sz="1400" b="1">
                <a:solidFill>
                  <a:schemeClr val="tx1"/>
                </a:solidFill>
              </a:rPr>
              <a:t>-Chiba band</a:t>
            </a:r>
            <a:endParaRPr lang="en-ID" sz="1400" b="1" err="1">
              <a:solidFill>
                <a:schemeClr val="tx1"/>
              </a:solidFill>
            </a:endParaRPr>
          </a:p>
        </p:txBody>
      </p:sp>
      <p:sp>
        <p:nvSpPr>
          <p:cNvPr id="11" name="Rectangle 10">
            <a:extLst>
              <a:ext uri="{FF2B5EF4-FFF2-40B4-BE49-F238E27FC236}">
                <a16:creationId xmlns:a16="http://schemas.microsoft.com/office/drawing/2014/main" id="{640F077C-EFD6-43AD-B750-3362BBAA893E}"/>
              </a:ext>
            </a:extLst>
          </p:cNvPr>
          <p:cNvSpPr/>
          <p:nvPr/>
        </p:nvSpPr>
        <p:spPr>
          <a:xfrm>
            <a:off x="8655189" y="5166672"/>
            <a:ext cx="2069961" cy="100798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tIns="91440" bIns="91440" rtlCol="0" anchor="ctr"/>
          <a:lstStyle/>
          <a:p>
            <a:pPr algn="ctr"/>
            <a:r>
              <a:rPr lang="en-US" sz="1400" b="1">
                <a:solidFill>
                  <a:schemeClr val="tx1"/>
                </a:solidFill>
              </a:rPr>
              <a:t>And not as accurate as DTW with </a:t>
            </a:r>
            <a:r>
              <a:rPr lang="en-US" sz="1400" b="1" err="1">
                <a:solidFill>
                  <a:schemeClr val="tx1"/>
                </a:solidFill>
              </a:rPr>
              <a:t>Sakoe</a:t>
            </a:r>
            <a:r>
              <a:rPr lang="en-US" sz="1400" b="1">
                <a:solidFill>
                  <a:schemeClr val="tx1"/>
                </a:solidFill>
              </a:rPr>
              <a:t>-Chiba band approximation!</a:t>
            </a:r>
            <a:endParaRPr lang="en-ID" sz="1400" b="1" err="1">
              <a:solidFill>
                <a:schemeClr val="tx1"/>
              </a:solidFill>
            </a:endParaRPr>
          </a:p>
        </p:txBody>
      </p:sp>
      <p:cxnSp>
        <p:nvCxnSpPr>
          <p:cNvPr id="13" name="Straight Arrow Connector 12">
            <a:extLst>
              <a:ext uri="{FF2B5EF4-FFF2-40B4-BE49-F238E27FC236}">
                <a16:creationId xmlns:a16="http://schemas.microsoft.com/office/drawing/2014/main" id="{9B52D9BC-B438-4C9B-AD11-D138D2B22DDE}"/>
              </a:ext>
            </a:extLst>
          </p:cNvPr>
          <p:cNvCxnSpPr>
            <a:cxnSpLocks/>
            <a:stCxn id="8" idx="2"/>
            <a:endCxn id="10" idx="0"/>
          </p:cNvCxnSpPr>
          <p:nvPr/>
        </p:nvCxnSpPr>
        <p:spPr>
          <a:xfrm>
            <a:off x="6440994" y="2883877"/>
            <a:ext cx="0" cy="228279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42B849D-4FD5-4CD1-9C1B-10389C6C0E81}"/>
              </a:ext>
            </a:extLst>
          </p:cNvPr>
          <p:cNvCxnSpPr>
            <a:cxnSpLocks/>
            <a:stCxn id="9" idx="2"/>
            <a:endCxn id="11" idx="0"/>
          </p:cNvCxnSpPr>
          <p:nvPr/>
        </p:nvCxnSpPr>
        <p:spPr>
          <a:xfrm>
            <a:off x="9690170" y="2875503"/>
            <a:ext cx="0" cy="2291169"/>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323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F4F26FB-B27B-4E94-B4CF-46D52BF6B119}"/>
              </a:ext>
            </a:extLst>
          </p:cNvPr>
          <p:cNvSpPr>
            <a:spLocks noGrp="1"/>
          </p:cNvSpPr>
          <p:nvPr>
            <p:ph type="title"/>
          </p:nvPr>
        </p:nvSpPr>
        <p:spPr/>
        <p:txBody>
          <a:bodyPr/>
          <a:lstStyle/>
          <a:p>
            <a:r>
              <a:rPr lang="en-GB"/>
              <a:t>We provide a broad range of services at scale- from strategy to operations.</a:t>
            </a:r>
            <a:endParaRPr lang="en-US"/>
          </a:p>
        </p:txBody>
      </p:sp>
      <p:pic>
        <p:nvPicPr>
          <p:cNvPr id="53" name="Picture Placeholder 52" descr="Caret Left with solid fill">
            <a:extLst>
              <a:ext uri="{FF2B5EF4-FFF2-40B4-BE49-F238E27FC236}">
                <a16:creationId xmlns:a16="http://schemas.microsoft.com/office/drawing/2014/main" id="{E7211648-2649-45F0-B23B-47CB040A742F}"/>
              </a:ext>
            </a:extLst>
          </p:cNvPr>
          <p:cNvPicPr>
            <a:picLocks noGrp="1" noChangeAspect="1"/>
          </p:cNvPicPr>
          <p:nvPr>
            <p:ph type="pic" sz="quarter" idx="15"/>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1154113" y="1560513"/>
            <a:ext cx="914400" cy="914400"/>
          </a:xfrm>
        </p:spPr>
      </p:pic>
      <p:sp>
        <p:nvSpPr>
          <p:cNvPr id="7" name="Text Placeholder 6">
            <a:extLst>
              <a:ext uri="{FF2B5EF4-FFF2-40B4-BE49-F238E27FC236}">
                <a16:creationId xmlns:a16="http://schemas.microsoft.com/office/drawing/2014/main" id="{1D8A5781-AB1A-4783-BCF3-88F7DA840F6A}"/>
              </a:ext>
            </a:extLst>
          </p:cNvPr>
          <p:cNvSpPr>
            <a:spLocks noGrp="1"/>
          </p:cNvSpPr>
          <p:nvPr>
            <p:ph type="body" sz="quarter" idx="19"/>
          </p:nvPr>
        </p:nvSpPr>
        <p:spPr>
          <a:xfrm>
            <a:off x="762000" y="2913830"/>
            <a:ext cx="2468880" cy="3563170"/>
          </a:xfrm>
        </p:spPr>
        <p:txBody>
          <a:bodyPr/>
          <a:lstStyle/>
          <a:p>
            <a:pPr lvl="0"/>
            <a:r>
              <a:rPr lang="en-US"/>
              <a:t>Strategy &amp; Consulting </a:t>
            </a:r>
            <a:endParaRPr lang="en-US" sz="1800" b="0" i="0" u="none" strike="noStrike" baseline="0">
              <a:solidFill>
                <a:srgbClr val="000000"/>
              </a:solidFill>
              <a:latin typeface="Graphik" panose="020B0503030202060203" pitchFamily="34" charset="0"/>
            </a:endParaRPr>
          </a:p>
          <a:p>
            <a:pPr marL="285750" indent="-285750">
              <a:buFont typeface="Arial" panose="020B0604020202020204" pitchFamily="34" charset="0"/>
              <a:buChar char="•"/>
            </a:pPr>
            <a:r>
              <a:rPr lang="en-US" sz="1600" b="0" i="0" u="none" strike="noStrike" baseline="0">
                <a:solidFill>
                  <a:srgbClr val="000000"/>
                </a:solidFill>
                <a:latin typeface="+mn-lt"/>
              </a:rPr>
              <a:t>Strategies to Accelerate Digital Transformation </a:t>
            </a:r>
          </a:p>
          <a:p>
            <a:pPr marL="285750" indent="-285750">
              <a:buFont typeface="Arial" panose="020B0604020202020204" pitchFamily="34" charset="0"/>
              <a:buChar char="•"/>
            </a:pPr>
            <a:r>
              <a:rPr lang="en-US" sz="1600" b="0" i="0" u="none" strike="noStrike" baseline="0">
                <a:solidFill>
                  <a:srgbClr val="000000"/>
                </a:solidFill>
                <a:latin typeface="+mn-lt"/>
              </a:rPr>
              <a:t>Enhancing Growth /  Profitability to Deliver Sustainable Value  </a:t>
            </a:r>
          </a:p>
          <a:p>
            <a:pPr marL="285750" indent="-285750">
              <a:buFont typeface="Arial" panose="020B0604020202020204" pitchFamily="34" charset="0"/>
              <a:buChar char="•"/>
            </a:pPr>
            <a:r>
              <a:rPr lang="en-US" sz="1600" b="0" i="0" u="none" strike="noStrike" baseline="0">
                <a:solidFill>
                  <a:srgbClr val="000000"/>
                </a:solidFill>
                <a:latin typeface="+mn-lt"/>
              </a:rPr>
              <a:t>Deep Industry / Functional Expertise</a:t>
            </a:r>
          </a:p>
          <a:p>
            <a:pPr marL="285750" indent="-285750">
              <a:buFont typeface="Arial" panose="020B0604020202020204" pitchFamily="34" charset="0"/>
              <a:buChar char="•"/>
            </a:pPr>
            <a:r>
              <a:rPr lang="en-US" sz="1600" b="0" i="0" u="none" strike="noStrike" baseline="0">
                <a:solidFill>
                  <a:srgbClr val="000000"/>
                </a:solidFill>
                <a:latin typeface="+mn-lt"/>
              </a:rPr>
              <a:t>Applied Intelligence</a:t>
            </a:r>
          </a:p>
          <a:p>
            <a:pPr marL="285750" indent="-285750">
              <a:buFont typeface="Arial" panose="020B0604020202020204" pitchFamily="34" charset="0"/>
              <a:buChar char="•"/>
            </a:pPr>
            <a:r>
              <a:rPr lang="en-US" sz="1600" b="0" i="0" u="none" strike="noStrike" baseline="0">
                <a:solidFill>
                  <a:srgbClr val="000000"/>
                </a:solidFill>
                <a:latin typeface="+mn-lt"/>
              </a:rPr>
              <a:t>Innovation Hubs</a:t>
            </a:r>
          </a:p>
          <a:p>
            <a:pPr marL="285750" indent="-285750">
              <a:buFont typeface="Arial" panose="020B0604020202020204" pitchFamily="34" charset="0"/>
              <a:buChar char="•"/>
            </a:pPr>
            <a:r>
              <a:rPr lang="en-US" sz="1600" b="0" i="0" u="none" strike="noStrike" baseline="0">
                <a:solidFill>
                  <a:srgbClr val="000000"/>
                </a:solidFill>
                <a:latin typeface="+mn-lt"/>
              </a:rPr>
              <a:t>Connected Products / Platforms</a:t>
            </a:r>
          </a:p>
        </p:txBody>
      </p:sp>
      <p:sp>
        <p:nvSpPr>
          <p:cNvPr id="3" name="Picture Placeholder 2" descr="Insert image here / insert description">
            <a:extLst>
              <a:ext uri="{FF2B5EF4-FFF2-40B4-BE49-F238E27FC236}">
                <a16:creationId xmlns:a16="http://schemas.microsoft.com/office/drawing/2014/main" id="{2468C5EC-397E-4FF7-B71B-E534E0B1EB42}"/>
              </a:ext>
            </a:extLst>
          </p:cNvPr>
          <p:cNvSpPr>
            <a:spLocks noGrp="1"/>
          </p:cNvSpPr>
          <p:nvPr>
            <p:ph type="pic" sz="quarter" idx="27"/>
          </p:nvPr>
        </p:nvSpPr>
        <p:spPr>
          <a:xfrm>
            <a:off x="3817351" y="1560513"/>
            <a:ext cx="914400" cy="914400"/>
          </a:xfrm>
        </p:spPr>
      </p:sp>
      <p:sp>
        <p:nvSpPr>
          <p:cNvPr id="8" name="Text Placeholder 7">
            <a:extLst>
              <a:ext uri="{FF2B5EF4-FFF2-40B4-BE49-F238E27FC236}">
                <a16:creationId xmlns:a16="http://schemas.microsoft.com/office/drawing/2014/main" id="{B1CBC798-0A27-4AA6-9D01-407FE72B25C4}"/>
              </a:ext>
            </a:extLst>
          </p:cNvPr>
          <p:cNvSpPr>
            <a:spLocks noGrp="1"/>
          </p:cNvSpPr>
          <p:nvPr>
            <p:ph type="body" sz="quarter" idx="20"/>
          </p:nvPr>
        </p:nvSpPr>
        <p:spPr>
          <a:xfrm>
            <a:off x="3621022" y="2913830"/>
            <a:ext cx="2468880" cy="3114674"/>
          </a:xfrm>
        </p:spPr>
        <p:txBody>
          <a:bodyPr/>
          <a:lstStyle/>
          <a:p>
            <a:pPr lvl="0"/>
            <a:r>
              <a:rPr lang="en-US"/>
              <a:t>Interactive</a:t>
            </a:r>
            <a:endParaRPr lang="en-US" sz="1800" b="0" i="0" u="none" strike="noStrike" baseline="0">
              <a:solidFill>
                <a:srgbClr val="000000"/>
              </a:solidFill>
              <a:latin typeface="Graphik" panose="020B0503030202060203" pitchFamily="34" charset="0"/>
            </a:endParaRPr>
          </a:p>
          <a:p>
            <a:pPr marL="285750" indent="-285750">
              <a:buFont typeface="Arial" panose="020B0604020202020204" pitchFamily="34" charset="0"/>
              <a:buChar char="•"/>
            </a:pPr>
            <a:r>
              <a:rPr lang="en-US" sz="1600" b="0" i="0" u="none" strike="noStrike" baseline="0">
                <a:solidFill>
                  <a:srgbClr val="000000"/>
                </a:solidFill>
                <a:latin typeface="+mn-lt"/>
              </a:rPr>
              <a:t>Meaningful Experiences to Drive Growth and Value</a:t>
            </a:r>
          </a:p>
          <a:p>
            <a:pPr marL="285750" indent="-285750">
              <a:buFont typeface="Arial" panose="020B0604020202020204" pitchFamily="34" charset="0"/>
              <a:buChar char="•"/>
            </a:pPr>
            <a:r>
              <a:rPr lang="en-US" sz="1600" b="0" i="0" u="none" strike="noStrike" baseline="0">
                <a:solidFill>
                  <a:srgbClr val="000000"/>
                </a:solidFill>
                <a:latin typeface="+mn-lt"/>
              </a:rPr>
              <a:t>Growth, Product &amp; Culture Design</a:t>
            </a:r>
          </a:p>
          <a:p>
            <a:pPr marL="285750" indent="-285750">
              <a:buFont typeface="Arial" panose="020B0604020202020204" pitchFamily="34" charset="0"/>
              <a:buChar char="•"/>
            </a:pPr>
            <a:r>
              <a:rPr lang="en-US" sz="1600" b="0" i="0" u="none" strike="noStrike" baseline="0">
                <a:solidFill>
                  <a:srgbClr val="000000"/>
                </a:solidFill>
                <a:latin typeface="+mn-lt"/>
              </a:rPr>
              <a:t>Technology &amp; Experience Platforms</a:t>
            </a:r>
          </a:p>
          <a:p>
            <a:pPr marL="285750" indent="-285750">
              <a:buFont typeface="Arial" panose="020B0604020202020204" pitchFamily="34" charset="0"/>
              <a:buChar char="•"/>
            </a:pPr>
            <a:r>
              <a:rPr lang="en-US" sz="1600" b="0" i="0" u="none" strike="noStrike" baseline="0">
                <a:solidFill>
                  <a:srgbClr val="000000"/>
                </a:solidFill>
                <a:latin typeface="+mn-lt"/>
              </a:rPr>
              <a:t>Creative, Media &amp; Marketing Strategy </a:t>
            </a:r>
          </a:p>
          <a:p>
            <a:pPr marL="285750" indent="-285750">
              <a:buFont typeface="Arial" panose="020B0604020202020204" pitchFamily="34" charset="0"/>
              <a:buChar char="•"/>
            </a:pPr>
            <a:r>
              <a:rPr lang="en-US" sz="1600" b="0" i="0" u="none" strike="noStrike" baseline="0">
                <a:solidFill>
                  <a:srgbClr val="000000"/>
                </a:solidFill>
                <a:latin typeface="+mn-lt"/>
              </a:rPr>
              <a:t>Campaign, Content &amp; Channel Orchestration </a:t>
            </a:r>
          </a:p>
          <a:p>
            <a:pPr lvl="3"/>
            <a:endParaRPr lang="en-US"/>
          </a:p>
        </p:txBody>
      </p:sp>
      <p:sp>
        <p:nvSpPr>
          <p:cNvPr id="4" name="Picture Placeholder 3" descr="Insert image here / insert description">
            <a:extLst>
              <a:ext uri="{FF2B5EF4-FFF2-40B4-BE49-F238E27FC236}">
                <a16:creationId xmlns:a16="http://schemas.microsoft.com/office/drawing/2014/main" id="{02790A5B-1055-4BC4-868E-B062673777FE}"/>
              </a:ext>
            </a:extLst>
          </p:cNvPr>
          <p:cNvSpPr>
            <a:spLocks noGrp="1"/>
          </p:cNvSpPr>
          <p:nvPr>
            <p:ph type="pic" sz="quarter" idx="28"/>
          </p:nvPr>
        </p:nvSpPr>
        <p:spPr>
          <a:xfrm>
            <a:off x="6480047" y="1560513"/>
            <a:ext cx="914400" cy="914400"/>
          </a:xfrm>
        </p:spPr>
      </p:sp>
      <p:sp>
        <p:nvSpPr>
          <p:cNvPr id="9" name="Text Placeholder 8">
            <a:extLst>
              <a:ext uri="{FF2B5EF4-FFF2-40B4-BE49-F238E27FC236}">
                <a16:creationId xmlns:a16="http://schemas.microsoft.com/office/drawing/2014/main" id="{8CB2E3F4-4610-43E1-9AC7-E84A61C6F211}"/>
              </a:ext>
            </a:extLst>
          </p:cNvPr>
          <p:cNvSpPr>
            <a:spLocks noGrp="1"/>
          </p:cNvSpPr>
          <p:nvPr>
            <p:ph type="body" sz="quarter" idx="25"/>
          </p:nvPr>
        </p:nvSpPr>
        <p:spPr>
          <a:xfrm>
            <a:off x="6381882" y="2924236"/>
            <a:ext cx="2468880" cy="3114674"/>
          </a:xfrm>
        </p:spPr>
        <p:txBody>
          <a:bodyPr/>
          <a:lstStyle/>
          <a:p>
            <a:pPr lvl="0"/>
            <a:r>
              <a:rPr lang="en-US"/>
              <a:t>Technology</a:t>
            </a: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r>
              <a:rPr lang="en-US" sz="1600" b="0" i="0" u="none" strike="noStrike" baseline="0">
                <a:solidFill>
                  <a:srgbClr val="000000"/>
                </a:solidFill>
                <a:latin typeface="+mn-lt"/>
              </a:rPr>
              <a:t>Cloud</a:t>
            </a:r>
          </a:p>
          <a:p>
            <a:pPr marL="285750" indent="-285750">
              <a:buFont typeface="Arial" panose="020B0604020202020204" pitchFamily="34" charset="0"/>
              <a:buChar char="•"/>
            </a:pPr>
            <a:r>
              <a:rPr lang="en-US" sz="1600" b="0" i="0" u="none" strike="noStrike" baseline="0">
                <a:solidFill>
                  <a:srgbClr val="000000"/>
                </a:solidFill>
                <a:latin typeface="+mn-lt"/>
              </a:rPr>
              <a:t>Systems Integration / Application Management</a:t>
            </a:r>
          </a:p>
          <a:p>
            <a:pPr marL="285750" indent="-285750">
              <a:buFont typeface="Arial" panose="020B0604020202020204" pitchFamily="34" charset="0"/>
              <a:buChar char="•"/>
            </a:pPr>
            <a:r>
              <a:rPr lang="en-US" sz="1600" b="0" i="0" u="none" strike="noStrike" baseline="0">
                <a:solidFill>
                  <a:srgbClr val="000000"/>
                </a:solidFill>
                <a:latin typeface="+mn-lt"/>
              </a:rPr>
              <a:t>Security</a:t>
            </a:r>
          </a:p>
          <a:p>
            <a:pPr marL="285750" indent="-285750">
              <a:buFont typeface="Arial" panose="020B0604020202020204" pitchFamily="34" charset="0"/>
              <a:buChar char="•"/>
            </a:pPr>
            <a:r>
              <a:rPr lang="en-US" sz="1600" b="0" i="0" u="none" strike="noStrike" baseline="0">
                <a:solidFill>
                  <a:srgbClr val="000000"/>
                </a:solidFill>
                <a:latin typeface="+mn-lt"/>
              </a:rPr>
              <a:t>Intelligent Platform Services</a:t>
            </a:r>
          </a:p>
          <a:p>
            <a:pPr marL="285750" indent="-285750">
              <a:buFont typeface="Arial" panose="020B0604020202020204" pitchFamily="34" charset="0"/>
              <a:buChar char="•"/>
            </a:pPr>
            <a:r>
              <a:rPr lang="en-US" sz="1600" b="0" i="0" u="none" strike="noStrike" baseline="0">
                <a:solidFill>
                  <a:srgbClr val="000000"/>
                </a:solidFill>
                <a:latin typeface="+mn-lt"/>
              </a:rPr>
              <a:t>Infrastructure </a:t>
            </a:r>
          </a:p>
          <a:p>
            <a:pPr marL="285750" indent="-285750">
              <a:buFont typeface="Arial" panose="020B0604020202020204" pitchFamily="34" charset="0"/>
              <a:buChar char="•"/>
            </a:pPr>
            <a:r>
              <a:rPr lang="en-US" sz="1600" b="0" i="0" u="none" strike="noStrike" baseline="0">
                <a:solidFill>
                  <a:srgbClr val="000000"/>
                </a:solidFill>
                <a:latin typeface="+mn-lt"/>
              </a:rPr>
              <a:t>Software Engineering</a:t>
            </a:r>
          </a:p>
          <a:p>
            <a:pPr marL="285750" indent="-285750">
              <a:buFont typeface="Arial" panose="020B0604020202020204" pitchFamily="34" charset="0"/>
              <a:buChar char="•"/>
            </a:pPr>
            <a:r>
              <a:rPr lang="en-US" sz="1600" b="0" i="0" u="none" strike="noStrike" baseline="0">
                <a:solidFill>
                  <a:srgbClr val="000000"/>
                </a:solidFill>
                <a:latin typeface="+mn-lt"/>
              </a:rPr>
              <a:t>Labs / Ventures</a:t>
            </a:r>
          </a:p>
          <a:p>
            <a:pPr marL="285750" indent="-285750">
              <a:buFont typeface="Arial" panose="020B0604020202020204" pitchFamily="34" charset="0"/>
              <a:buChar char="•"/>
            </a:pPr>
            <a:r>
              <a:rPr lang="en-US" sz="1600" b="0" i="0" u="none" strike="noStrike" baseline="0">
                <a:solidFill>
                  <a:srgbClr val="000000"/>
                </a:solidFill>
                <a:latin typeface="+mn-lt"/>
              </a:rPr>
              <a:t>Ecosystem Alliances</a:t>
            </a:r>
          </a:p>
        </p:txBody>
      </p:sp>
      <p:sp>
        <p:nvSpPr>
          <p:cNvPr id="5" name="Picture Placeholder 4" descr="Insert image here / insert description">
            <a:extLst>
              <a:ext uri="{FF2B5EF4-FFF2-40B4-BE49-F238E27FC236}">
                <a16:creationId xmlns:a16="http://schemas.microsoft.com/office/drawing/2014/main" id="{1E1B1180-6216-460C-B068-1C7B6E80926C}"/>
              </a:ext>
            </a:extLst>
          </p:cNvPr>
          <p:cNvSpPr>
            <a:spLocks noGrp="1"/>
          </p:cNvSpPr>
          <p:nvPr>
            <p:ph type="pic" sz="quarter" idx="29"/>
          </p:nvPr>
        </p:nvSpPr>
        <p:spPr>
          <a:xfrm>
            <a:off x="9142743" y="1560513"/>
            <a:ext cx="914400" cy="914400"/>
          </a:xfrm>
        </p:spPr>
      </p:sp>
      <p:sp>
        <p:nvSpPr>
          <p:cNvPr id="10" name="Text Placeholder 9">
            <a:extLst>
              <a:ext uri="{FF2B5EF4-FFF2-40B4-BE49-F238E27FC236}">
                <a16:creationId xmlns:a16="http://schemas.microsoft.com/office/drawing/2014/main" id="{C6FFC140-B5BE-41BD-BCF7-6C14875834E7}"/>
              </a:ext>
            </a:extLst>
          </p:cNvPr>
          <p:cNvSpPr>
            <a:spLocks noGrp="1"/>
          </p:cNvSpPr>
          <p:nvPr>
            <p:ph type="body" sz="quarter" idx="26"/>
          </p:nvPr>
        </p:nvSpPr>
        <p:spPr>
          <a:xfrm>
            <a:off x="9142742" y="2924236"/>
            <a:ext cx="2468880" cy="3229984"/>
          </a:xfrm>
        </p:spPr>
        <p:txBody>
          <a:bodyPr/>
          <a:lstStyle/>
          <a:p>
            <a:pPr lvl="0"/>
            <a:r>
              <a:rPr lang="en-US"/>
              <a:t>Operations</a:t>
            </a: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r>
              <a:rPr lang="en-US" sz="1600" b="0" i="0" u="none" strike="noStrike" baseline="0">
                <a:solidFill>
                  <a:srgbClr val="000000"/>
                </a:solidFill>
                <a:latin typeface="Graphik" panose="020B0503030202060203" pitchFamily="34" charset="0"/>
              </a:rPr>
              <a:t>Business Process Services</a:t>
            </a:r>
          </a:p>
          <a:p>
            <a:pPr marL="285750" indent="-285750">
              <a:buFont typeface="Arial" panose="020B0604020202020204" pitchFamily="34" charset="0"/>
              <a:buChar char="•"/>
            </a:pPr>
            <a:r>
              <a:rPr lang="en-US" sz="1600" b="0" i="0" u="none" strike="noStrike" baseline="0">
                <a:solidFill>
                  <a:srgbClr val="000000"/>
                </a:solidFill>
                <a:latin typeface="Graphik" panose="020B0503030202060203" pitchFamily="34" charset="0"/>
              </a:rPr>
              <a:t>Function-Specific</a:t>
            </a:r>
          </a:p>
          <a:p>
            <a:pPr marL="285750" indent="-285750">
              <a:buFont typeface="Arial" panose="020B0604020202020204" pitchFamily="34" charset="0"/>
              <a:buChar char="•"/>
            </a:pPr>
            <a:r>
              <a:rPr lang="en-US" sz="1600" b="0" i="0" u="none" strike="noStrike" baseline="0">
                <a:solidFill>
                  <a:srgbClr val="000000"/>
                </a:solidFill>
                <a:latin typeface="Graphik" panose="020B0503030202060203" pitchFamily="34" charset="0"/>
              </a:rPr>
              <a:t>Finance &amp; Accounting / Procurement / Supply Chain / Marketing</a:t>
            </a:r>
          </a:p>
          <a:p>
            <a:pPr marL="285750" indent="-285750">
              <a:buFont typeface="Arial" panose="020B0604020202020204" pitchFamily="34" charset="0"/>
              <a:buChar char="•"/>
            </a:pPr>
            <a:r>
              <a:rPr lang="en-US" sz="1600" b="0" i="0" u="none" strike="noStrike" baseline="0">
                <a:solidFill>
                  <a:srgbClr val="000000"/>
                </a:solidFill>
                <a:latin typeface="Graphik" panose="020B0503030202060203" pitchFamily="34" charset="0"/>
              </a:rPr>
              <a:t>Industry-Specific </a:t>
            </a:r>
          </a:p>
          <a:p>
            <a:pPr marL="285750" indent="-285750">
              <a:buFont typeface="Arial" panose="020B0604020202020204" pitchFamily="34" charset="0"/>
              <a:buChar char="•"/>
            </a:pPr>
            <a:r>
              <a:rPr lang="en-US" sz="1600" b="0" i="0" u="none" strike="noStrike" baseline="0">
                <a:solidFill>
                  <a:srgbClr val="000000"/>
                </a:solidFill>
                <a:latin typeface="Graphik" panose="020B0503030202060203" pitchFamily="34" charset="0"/>
              </a:rPr>
              <a:t>Banking / Insurance / Health Care</a:t>
            </a:r>
            <a:endParaRPr lang="en-US" sz="1800" b="0" i="0" u="none" strike="noStrike" baseline="0">
              <a:solidFill>
                <a:srgbClr val="000000"/>
              </a:solidFill>
              <a:latin typeface="Graphik" panose="020B0503030202060203" pitchFamily="34" charset="0"/>
            </a:endParaRPr>
          </a:p>
        </p:txBody>
      </p:sp>
      <p:sp>
        <p:nvSpPr>
          <p:cNvPr id="11" name="Footer Placeholder 10">
            <a:extLst>
              <a:ext uri="{FF2B5EF4-FFF2-40B4-BE49-F238E27FC236}">
                <a16:creationId xmlns:a16="http://schemas.microsoft.com/office/drawing/2014/main" id="{56822DBF-307F-46B1-8A42-0B36528CE970}"/>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12" name="Slide Number Placeholder 11">
            <a:extLst>
              <a:ext uri="{FF2B5EF4-FFF2-40B4-BE49-F238E27FC236}">
                <a16:creationId xmlns:a16="http://schemas.microsoft.com/office/drawing/2014/main" id="{8A5353CA-C10A-4353-89B1-A5451354FF8F}"/>
              </a:ext>
            </a:extLst>
          </p:cNvPr>
          <p:cNvSpPr>
            <a:spLocks noGrp="1"/>
          </p:cNvSpPr>
          <p:nvPr>
            <p:ph type="sldNum" sz="quarter" idx="3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pSp>
        <p:nvGrpSpPr>
          <p:cNvPr id="18" name="Group 17">
            <a:extLst>
              <a:ext uri="{FF2B5EF4-FFF2-40B4-BE49-F238E27FC236}">
                <a16:creationId xmlns:a16="http://schemas.microsoft.com/office/drawing/2014/main" id="{529AAECE-5DFD-4CA6-BDE0-417D17B23599}"/>
              </a:ext>
            </a:extLst>
          </p:cNvPr>
          <p:cNvGrpSpPr/>
          <p:nvPr/>
        </p:nvGrpSpPr>
        <p:grpSpPr>
          <a:xfrm>
            <a:off x="9142742" y="1560513"/>
            <a:ext cx="914400" cy="914400"/>
            <a:chOff x="9142742" y="1560513"/>
            <a:chExt cx="914400" cy="914400"/>
          </a:xfrm>
        </p:grpSpPr>
        <p:sp>
          <p:nvSpPr>
            <p:cNvPr id="14" name="Rectangle 13">
              <a:extLst>
                <a:ext uri="{FF2B5EF4-FFF2-40B4-BE49-F238E27FC236}">
                  <a16:creationId xmlns:a16="http://schemas.microsoft.com/office/drawing/2014/main" id="{716F51AC-3C85-4595-8296-FBDD3FF42D4C}"/>
                </a:ext>
              </a:extLst>
            </p:cNvPr>
            <p:cNvSpPr/>
            <p:nvPr/>
          </p:nvSpPr>
          <p:spPr>
            <a:xfrm>
              <a:off x="9142742" y="1560513"/>
              <a:ext cx="914400" cy="9144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6" name="Freeform 34">
              <a:extLst>
                <a:ext uri="{FF2B5EF4-FFF2-40B4-BE49-F238E27FC236}">
                  <a16:creationId xmlns:a16="http://schemas.microsoft.com/office/drawing/2014/main" id="{C5F24DD3-25B5-4296-B37D-57D246367869}"/>
                </a:ext>
              </a:extLst>
            </p:cNvPr>
            <p:cNvSpPr>
              <a:spLocks/>
            </p:cNvSpPr>
            <p:nvPr/>
          </p:nvSpPr>
          <p:spPr bwMode="auto">
            <a:xfrm>
              <a:off x="9357978" y="1778011"/>
              <a:ext cx="482797" cy="481665"/>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solidFill>
              <a:srgbClr val="A100FF"/>
            </a:solidFill>
            <a:ln w="1270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latin typeface="Arial" charset="0"/>
                <a:cs typeface="Arial" charset="0"/>
              </a:endParaRPr>
            </a:p>
          </p:txBody>
        </p:sp>
        <p:sp>
          <p:nvSpPr>
            <p:cNvPr id="17" name="Freeform 35">
              <a:extLst>
                <a:ext uri="{FF2B5EF4-FFF2-40B4-BE49-F238E27FC236}">
                  <a16:creationId xmlns:a16="http://schemas.microsoft.com/office/drawing/2014/main" id="{890FE26E-A2DA-4512-A20E-BDFDFA29F33B}"/>
                </a:ext>
              </a:extLst>
            </p:cNvPr>
            <p:cNvSpPr>
              <a:spLocks/>
            </p:cNvSpPr>
            <p:nvPr/>
          </p:nvSpPr>
          <p:spPr bwMode="auto">
            <a:xfrm>
              <a:off x="9503835" y="1775750"/>
              <a:ext cx="338071" cy="299627"/>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solidFill>
              <a:srgbClr val="A100FF"/>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latin typeface="Arial" charset="0"/>
                <a:cs typeface="Arial" charset="0"/>
              </a:endParaRPr>
            </a:p>
          </p:txBody>
        </p:sp>
      </p:grpSp>
      <p:sp>
        <p:nvSpPr>
          <p:cNvPr id="21" name="Rectangle 20">
            <a:extLst>
              <a:ext uri="{FF2B5EF4-FFF2-40B4-BE49-F238E27FC236}">
                <a16:creationId xmlns:a16="http://schemas.microsoft.com/office/drawing/2014/main" id="{76336CE9-EFBE-4ED0-8709-993C5FF8B4FF}"/>
              </a:ext>
            </a:extLst>
          </p:cNvPr>
          <p:cNvSpPr/>
          <p:nvPr/>
        </p:nvSpPr>
        <p:spPr>
          <a:xfrm>
            <a:off x="6469773" y="1569627"/>
            <a:ext cx="914400" cy="9144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5" name="Rectangle 24">
            <a:extLst>
              <a:ext uri="{FF2B5EF4-FFF2-40B4-BE49-F238E27FC236}">
                <a16:creationId xmlns:a16="http://schemas.microsoft.com/office/drawing/2014/main" id="{DF274E3C-2132-498F-8FCE-614700C5885F}"/>
              </a:ext>
            </a:extLst>
          </p:cNvPr>
          <p:cNvSpPr/>
          <p:nvPr/>
        </p:nvSpPr>
        <p:spPr>
          <a:xfrm>
            <a:off x="1156980" y="1560513"/>
            <a:ext cx="914400" cy="9144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9" name="Rectangle 28">
            <a:extLst>
              <a:ext uri="{FF2B5EF4-FFF2-40B4-BE49-F238E27FC236}">
                <a16:creationId xmlns:a16="http://schemas.microsoft.com/office/drawing/2014/main" id="{0BDACE71-E444-4E90-A869-CC8A3D62F3F5}"/>
              </a:ext>
            </a:extLst>
          </p:cNvPr>
          <p:cNvSpPr/>
          <p:nvPr/>
        </p:nvSpPr>
        <p:spPr>
          <a:xfrm>
            <a:off x="3809402" y="1564127"/>
            <a:ext cx="914400" cy="9144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Freeform 17">
            <a:extLst>
              <a:ext uri="{FF2B5EF4-FFF2-40B4-BE49-F238E27FC236}">
                <a16:creationId xmlns:a16="http://schemas.microsoft.com/office/drawing/2014/main" id="{CFB2DF77-E57E-453A-9B56-A605651FB2EC}"/>
              </a:ext>
            </a:extLst>
          </p:cNvPr>
          <p:cNvSpPr>
            <a:spLocks noChangeAspect="1" noEditPoints="1"/>
          </p:cNvSpPr>
          <p:nvPr/>
        </p:nvSpPr>
        <p:spPr bwMode="auto">
          <a:xfrm>
            <a:off x="3993290" y="1730703"/>
            <a:ext cx="546624" cy="548640"/>
          </a:xfrm>
          <a:custGeom>
            <a:avLst/>
            <a:gdLst>
              <a:gd name="T0" fmla="*/ 283 w 566"/>
              <a:gd name="T1" fmla="*/ 69 h 567"/>
              <a:gd name="T2" fmla="*/ 283 w 566"/>
              <a:gd name="T3" fmla="*/ 186 h 567"/>
              <a:gd name="T4" fmla="*/ 364 w 566"/>
              <a:gd name="T5" fmla="*/ 128 h 567"/>
              <a:gd name="T6" fmla="*/ 202 w 566"/>
              <a:gd name="T7" fmla="*/ 128 h 567"/>
              <a:gd name="T8" fmla="*/ 364 w 566"/>
              <a:gd name="T9" fmla="*/ 128 h 567"/>
              <a:gd name="T10" fmla="*/ 283 w 566"/>
              <a:gd name="T11" fmla="*/ 258 h 567"/>
              <a:gd name="T12" fmla="*/ 224 w 566"/>
              <a:gd name="T13" fmla="*/ 497 h 567"/>
              <a:gd name="T14" fmla="*/ 342 w 566"/>
              <a:gd name="T15" fmla="*/ 320 h 567"/>
              <a:gd name="T16" fmla="*/ 364 w 566"/>
              <a:gd name="T17" fmla="*/ 508 h 567"/>
              <a:gd name="T18" fmla="*/ 213 w 566"/>
              <a:gd name="T19" fmla="*/ 519 h 567"/>
              <a:gd name="T20" fmla="*/ 202 w 566"/>
              <a:gd name="T21" fmla="*/ 320 h 567"/>
              <a:gd name="T22" fmla="*/ 364 w 566"/>
              <a:gd name="T23" fmla="*/ 320 h 567"/>
              <a:gd name="T24" fmla="*/ 22 w 566"/>
              <a:gd name="T25" fmla="*/ 529 h 567"/>
              <a:gd name="T26" fmla="*/ 11 w 566"/>
              <a:gd name="T27" fmla="*/ 445 h 567"/>
              <a:gd name="T28" fmla="*/ 0 w 566"/>
              <a:gd name="T29" fmla="*/ 556 h 567"/>
              <a:gd name="T30" fmla="*/ 2 w 566"/>
              <a:gd name="T31" fmla="*/ 563 h 567"/>
              <a:gd name="T32" fmla="*/ 4 w 566"/>
              <a:gd name="T33" fmla="*/ 564 h 567"/>
              <a:gd name="T34" fmla="*/ 11 w 566"/>
              <a:gd name="T35" fmla="*/ 567 h 567"/>
              <a:gd name="T36" fmla="*/ 11 w 566"/>
              <a:gd name="T37" fmla="*/ 567 h 567"/>
              <a:gd name="T38" fmla="*/ 110 w 566"/>
              <a:gd name="T39" fmla="*/ 567 h 567"/>
              <a:gd name="T40" fmla="*/ 110 w 566"/>
              <a:gd name="T41" fmla="*/ 544 h 567"/>
              <a:gd name="T42" fmla="*/ 137 w 566"/>
              <a:gd name="T43" fmla="*/ 445 h 567"/>
              <a:gd name="T44" fmla="*/ 122 w 566"/>
              <a:gd name="T45" fmla="*/ 429 h 567"/>
              <a:gd name="T46" fmla="*/ 544 w 566"/>
              <a:gd name="T47" fmla="*/ 457 h 567"/>
              <a:gd name="T48" fmla="*/ 444 w 566"/>
              <a:gd name="T49" fmla="*/ 429 h 567"/>
              <a:gd name="T50" fmla="*/ 428 w 566"/>
              <a:gd name="T51" fmla="*/ 445 h 567"/>
              <a:gd name="T52" fmla="*/ 456 w 566"/>
              <a:gd name="T53" fmla="*/ 544 h 567"/>
              <a:gd name="T54" fmla="*/ 456 w 566"/>
              <a:gd name="T55" fmla="*/ 567 h 567"/>
              <a:gd name="T56" fmla="*/ 555 w 566"/>
              <a:gd name="T57" fmla="*/ 567 h 567"/>
              <a:gd name="T58" fmla="*/ 555 w 566"/>
              <a:gd name="T59" fmla="*/ 567 h 567"/>
              <a:gd name="T60" fmla="*/ 562 w 566"/>
              <a:gd name="T61" fmla="*/ 564 h 567"/>
              <a:gd name="T62" fmla="*/ 564 w 566"/>
              <a:gd name="T63" fmla="*/ 563 h 567"/>
              <a:gd name="T64" fmla="*/ 566 w 566"/>
              <a:gd name="T65" fmla="*/ 556 h 567"/>
              <a:gd name="T66" fmla="*/ 555 w 566"/>
              <a:gd name="T67" fmla="*/ 445 h 567"/>
              <a:gd name="T68" fmla="*/ 110 w 566"/>
              <a:gd name="T69" fmla="*/ 22 h 567"/>
              <a:gd name="T70" fmla="*/ 110 w 566"/>
              <a:gd name="T71" fmla="*/ 0 h 567"/>
              <a:gd name="T72" fmla="*/ 11 w 566"/>
              <a:gd name="T73" fmla="*/ 0 h 567"/>
              <a:gd name="T74" fmla="*/ 11 w 566"/>
              <a:gd name="T75" fmla="*/ 0 h 567"/>
              <a:gd name="T76" fmla="*/ 4 w 566"/>
              <a:gd name="T77" fmla="*/ 2 h 567"/>
              <a:gd name="T78" fmla="*/ 0 w 566"/>
              <a:gd name="T79" fmla="*/ 10 h 567"/>
              <a:gd name="T80" fmla="*/ 0 w 566"/>
              <a:gd name="T81" fmla="*/ 110 h 567"/>
              <a:gd name="T82" fmla="*/ 22 w 566"/>
              <a:gd name="T83" fmla="*/ 110 h 567"/>
              <a:gd name="T84" fmla="*/ 122 w 566"/>
              <a:gd name="T85" fmla="*/ 137 h 567"/>
              <a:gd name="T86" fmla="*/ 137 w 566"/>
              <a:gd name="T87" fmla="*/ 137 h 567"/>
              <a:gd name="T88" fmla="*/ 38 w 566"/>
              <a:gd name="T89" fmla="*/ 22 h 567"/>
              <a:gd name="T90" fmla="*/ 566 w 566"/>
              <a:gd name="T91" fmla="*/ 110 h 567"/>
              <a:gd name="T92" fmla="*/ 544 w 566"/>
              <a:gd name="T93" fmla="*/ 110 h 567"/>
              <a:gd name="T94" fmla="*/ 444 w 566"/>
              <a:gd name="T95" fmla="*/ 137 h 567"/>
              <a:gd name="T96" fmla="*/ 428 w 566"/>
              <a:gd name="T97" fmla="*/ 137 h 567"/>
              <a:gd name="T98" fmla="*/ 528 w 566"/>
              <a:gd name="T99" fmla="*/ 22 h 567"/>
              <a:gd name="T100" fmla="*/ 445 w 566"/>
              <a:gd name="T101" fmla="*/ 11 h 567"/>
              <a:gd name="T102" fmla="*/ 555 w 566"/>
              <a:gd name="T103" fmla="*/ 0 h 567"/>
              <a:gd name="T104" fmla="*/ 555 w 566"/>
              <a:gd name="T105" fmla="*/ 0 h 567"/>
              <a:gd name="T106" fmla="*/ 555 w 566"/>
              <a:gd name="T107" fmla="*/ 0 h 567"/>
              <a:gd name="T108" fmla="*/ 564 w 566"/>
              <a:gd name="T109" fmla="*/ 4 h 567"/>
              <a:gd name="T110" fmla="*/ 566 w 566"/>
              <a:gd name="T111" fmla="*/ 1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6" h="567">
                <a:moveTo>
                  <a:pt x="342" y="128"/>
                </a:moveTo>
                <a:cubicBezTo>
                  <a:pt x="342" y="95"/>
                  <a:pt x="315" y="69"/>
                  <a:pt x="283" y="69"/>
                </a:cubicBezTo>
                <a:cubicBezTo>
                  <a:pt x="251" y="69"/>
                  <a:pt x="224" y="95"/>
                  <a:pt x="224" y="128"/>
                </a:cubicBezTo>
                <a:cubicBezTo>
                  <a:pt x="224" y="160"/>
                  <a:pt x="251" y="186"/>
                  <a:pt x="283" y="186"/>
                </a:cubicBezTo>
                <a:cubicBezTo>
                  <a:pt x="315" y="186"/>
                  <a:pt x="342" y="160"/>
                  <a:pt x="342" y="128"/>
                </a:cubicBezTo>
                <a:close/>
                <a:moveTo>
                  <a:pt x="364" y="128"/>
                </a:moveTo>
                <a:cubicBezTo>
                  <a:pt x="364" y="172"/>
                  <a:pt x="328" y="209"/>
                  <a:pt x="283" y="209"/>
                </a:cubicBezTo>
                <a:cubicBezTo>
                  <a:pt x="238" y="209"/>
                  <a:pt x="202" y="172"/>
                  <a:pt x="202" y="128"/>
                </a:cubicBezTo>
                <a:cubicBezTo>
                  <a:pt x="202" y="83"/>
                  <a:pt x="238" y="47"/>
                  <a:pt x="283" y="47"/>
                </a:cubicBezTo>
                <a:cubicBezTo>
                  <a:pt x="328" y="47"/>
                  <a:pt x="364" y="83"/>
                  <a:pt x="364" y="128"/>
                </a:cubicBezTo>
                <a:close/>
                <a:moveTo>
                  <a:pt x="342" y="320"/>
                </a:moveTo>
                <a:cubicBezTo>
                  <a:pt x="342" y="285"/>
                  <a:pt x="316" y="258"/>
                  <a:pt x="283" y="258"/>
                </a:cubicBezTo>
                <a:cubicBezTo>
                  <a:pt x="248" y="258"/>
                  <a:pt x="224" y="283"/>
                  <a:pt x="224" y="320"/>
                </a:cubicBezTo>
                <a:lnTo>
                  <a:pt x="224" y="497"/>
                </a:lnTo>
                <a:lnTo>
                  <a:pt x="342" y="497"/>
                </a:lnTo>
                <a:lnTo>
                  <a:pt x="342" y="320"/>
                </a:lnTo>
                <a:close/>
                <a:moveTo>
                  <a:pt x="364" y="320"/>
                </a:moveTo>
                <a:lnTo>
                  <a:pt x="364" y="508"/>
                </a:lnTo>
                <a:cubicBezTo>
                  <a:pt x="364" y="514"/>
                  <a:pt x="359" y="519"/>
                  <a:pt x="353" y="519"/>
                </a:cubicBezTo>
                <a:lnTo>
                  <a:pt x="213" y="519"/>
                </a:lnTo>
                <a:cubicBezTo>
                  <a:pt x="207" y="519"/>
                  <a:pt x="202" y="514"/>
                  <a:pt x="202" y="508"/>
                </a:cubicBezTo>
                <a:lnTo>
                  <a:pt x="202" y="320"/>
                </a:lnTo>
                <a:cubicBezTo>
                  <a:pt x="202" y="271"/>
                  <a:pt x="236" y="235"/>
                  <a:pt x="283" y="235"/>
                </a:cubicBezTo>
                <a:cubicBezTo>
                  <a:pt x="328" y="235"/>
                  <a:pt x="364" y="272"/>
                  <a:pt x="364" y="320"/>
                </a:cubicBezTo>
                <a:close/>
                <a:moveTo>
                  <a:pt x="122" y="429"/>
                </a:moveTo>
                <a:lnTo>
                  <a:pt x="22" y="529"/>
                </a:lnTo>
                <a:lnTo>
                  <a:pt x="22" y="457"/>
                </a:lnTo>
                <a:cubicBezTo>
                  <a:pt x="22" y="450"/>
                  <a:pt x="17" y="445"/>
                  <a:pt x="11" y="445"/>
                </a:cubicBezTo>
                <a:cubicBezTo>
                  <a:pt x="5" y="445"/>
                  <a:pt x="0" y="450"/>
                  <a:pt x="0" y="457"/>
                </a:cubicBezTo>
                <a:lnTo>
                  <a:pt x="0" y="556"/>
                </a:lnTo>
                <a:cubicBezTo>
                  <a:pt x="0" y="556"/>
                  <a:pt x="0" y="556"/>
                  <a:pt x="0" y="557"/>
                </a:cubicBezTo>
                <a:cubicBezTo>
                  <a:pt x="0" y="559"/>
                  <a:pt x="1" y="561"/>
                  <a:pt x="2" y="563"/>
                </a:cubicBezTo>
                <a:cubicBezTo>
                  <a:pt x="2" y="563"/>
                  <a:pt x="3" y="564"/>
                  <a:pt x="4" y="564"/>
                </a:cubicBezTo>
                <a:lnTo>
                  <a:pt x="4" y="564"/>
                </a:lnTo>
                <a:cubicBezTo>
                  <a:pt x="6" y="566"/>
                  <a:pt x="8" y="567"/>
                  <a:pt x="11" y="567"/>
                </a:cubicBezTo>
                <a:lnTo>
                  <a:pt x="11" y="567"/>
                </a:lnTo>
                <a:lnTo>
                  <a:pt x="11" y="567"/>
                </a:lnTo>
                <a:lnTo>
                  <a:pt x="11" y="567"/>
                </a:lnTo>
                <a:lnTo>
                  <a:pt x="11" y="567"/>
                </a:lnTo>
                <a:lnTo>
                  <a:pt x="110" y="567"/>
                </a:lnTo>
                <a:cubicBezTo>
                  <a:pt x="116" y="567"/>
                  <a:pt x="121" y="562"/>
                  <a:pt x="121" y="556"/>
                </a:cubicBezTo>
                <a:cubicBezTo>
                  <a:pt x="121" y="550"/>
                  <a:pt x="116" y="544"/>
                  <a:pt x="110" y="544"/>
                </a:cubicBezTo>
                <a:lnTo>
                  <a:pt x="38" y="544"/>
                </a:lnTo>
                <a:lnTo>
                  <a:pt x="137" y="445"/>
                </a:lnTo>
                <a:cubicBezTo>
                  <a:pt x="142" y="441"/>
                  <a:pt x="142" y="434"/>
                  <a:pt x="137" y="429"/>
                </a:cubicBezTo>
                <a:cubicBezTo>
                  <a:pt x="133" y="425"/>
                  <a:pt x="126" y="425"/>
                  <a:pt x="122" y="429"/>
                </a:cubicBezTo>
                <a:close/>
                <a:moveTo>
                  <a:pt x="555" y="445"/>
                </a:moveTo>
                <a:cubicBezTo>
                  <a:pt x="549" y="445"/>
                  <a:pt x="544" y="450"/>
                  <a:pt x="544" y="457"/>
                </a:cubicBezTo>
                <a:lnTo>
                  <a:pt x="544" y="529"/>
                </a:lnTo>
                <a:lnTo>
                  <a:pt x="444" y="429"/>
                </a:lnTo>
                <a:cubicBezTo>
                  <a:pt x="440" y="425"/>
                  <a:pt x="433" y="425"/>
                  <a:pt x="428" y="429"/>
                </a:cubicBezTo>
                <a:cubicBezTo>
                  <a:pt x="424" y="434"/>
                  <a:pt x="424" y="441"/>
                  <a:pt x="428" y="445"/>
                </a:cubicBezTo>
                <a:lnTo>
                  <a:pt x="528" y="544"/>
                </a:lnTo>
                <a:lnTo>
                  <a:pt x="456" y="544"/>
                </a:lnTo>
                <a:cubicBezTo>
                  <a:pt x="450" y="544"/>
                  <a:pt x="445" y="550"/>
                  <a:pt x="445" y="556"/>
                </a:cubicBezTo>
                <a:cubicBezTo>
                  <a:pt x="445" y="562"/>
                  <a:pt x="450" y="567"/>
                  <a:pt x="456" y="567"/>
                </a:cubicBezTo>
                <a:lnTo>
                  <a:pt x="555" y="567"/>
                </a:lnTo>
                <a:lnTo>
                  <a:pt x="555" y="567"/>
                </a:lnTo>
                <a:lnTo>
                  <a:pt x="555" y="567"/>
                </a:lnTo>
                <a:lnTo>
                  <a:pt x="555" y="567"/>
                </a:lnTo>
                <a:lnTo>
                  <a:pt x="555" y="567"/>
                </a:lnTo>
                <a:cubicBezTo>
                  <a:pt x="558" y="567"/>
                  <a:pt x="560" y="566"/>
                  <a:pt x="562" y="564"/>
                </a:cubicBezTo>
                <a:lnTo>
                  <a:pt x="562" y="564"/>
                </a:lnTo>
                <a:cubicBezTo>
                  <a:pt x="563" y="564"/>
                  <a:pt x="564" y="563"/>
                  <a:pt x="564" y="563"/>
                </a:cubicBezTo>
                <a:cubicBezTo>
                  <a:pt x="565" y="561"/>
                  <a:pt x="566" y="559"/>
                  <a:pt x="566" y="557"/>
                </a:cubicBezTo>
                <a:cubicBezTo>
                  <a:pt x="566" y="556"/>
                  <a:pt x="566" y="556"/>
                  <a:pt x="566" y="556"/>
                </a:cubicBezTo>
                <a:lnTo>
                  <a:pt x="566" y="457"/>
                </a:lnTo>
                <a:cubicBezTo>
                  <a:pt x="566" y="450"/>
                  <a:pt x="561" y="445"/>
                  <a:pt x="555" y="445"/>
                </a:cubicBezTo>
                <a:close/>
                <a:moveTo>
                  <a:pt x="38" y="22"/>
                </a:moveTo>
                <a:lnTo>
                  <a:pt x="110" y="22"/>
                </a:lnTo>
                <a:cubicBezTo>
                  <a:pt x="116" y="22"/>
                  <a:pt x="121" y="17"/>
                  <a:pt x="121" y="11"/>
                </a:cubicBezTo>
                <a:cubicBezTo>
                  <a:pt x="121" y="5"/>
                  <a:pt x="116" y="0"/>
                  <a:pt x="110" y="0"/>
                </a:cubicBezTo>
                <a:lnTo>
                  <a:pt x="11" y="0"/>
                </a:lnTo>
                <a:lnTo>
                  <a:pt x="11" y="0"/>
                </a:lnTo>
                <a:lnTo>
                  <a:pt x="11" y="0"/>
                </a:lnTo>
                <a:lnTo>
                  <a:pt x="11" y="0"/>
                </a:lnTo>
                <a:lnTo>
                  <a:pt x="11" y="0"/>
                </a:lnTo>
                <a:cubicBezTo>
                  <a:pt x="8" y="0"/>
                  <a:pt x="6" y="1"/>
                  <a:pt x="4" y="2"/>
                </a:cubicBezTo>
                <a:cubicBezTo>
                  <a:pt x="3" y="3"/>
                  <a:pt x="2" y="3"/>
                  <a:pt x="2" y="4"/>
                </a:cubicBezTo>
                <a:cubicBezTo>
                  <a:pt x="1" y="6"/>
                  <a:pt x="0" y="8"/>
                  <a:pt x="0" y="10"/>
                </a:cubicBezTo>
                <a:cubicBezTo>
                  <a:pt x="0" y="10"/>
                  <a:pt x="0" y="11"/>
                  <a:pt x="0" y="11"/>
                </a:cubicBezTo>
                <a:lnTo>
                  <a:pt x="0" y="110"/>
                </a:lnTo>
                <a:cubicBezTo>
                  <a:pt x="0" y="116"/>
                  <a:pt x="5" y="121"/>
                  <a:pt x="11" y="121"/>
                </a:cubicBezTo>
                <a:cubicBezTo>
                  <a:pt x="17" y="121"/>
                  <a:pt x="22" y="116"/>
                  <a:pt x="22" y="110"/>
                </a:cubicBezTo>
                <a:lnTo>
                  <a:pt x="22" y="38"/>
                </a:lnTo>
                <a:lnTo>
                  <a:pt x="122" y="137"/>
                </a:lnTo>
                <a:cubicBezTo>
                  <a:pt x="124" y="140"/>
                  <a:pt x="127" y="141"/>
                  <a:pt x="130" y="141"/>
                </a:cubicBezTo>
                <a:cubicBezTo>
                  <a:pt x="132" y="141"/>
                  <a:pt x="135" y="140"/>
                  <a:pt x="137" y="137"/>
                </a:cubicBezTo>
                <a:cubicBezTo>
                  <a:pt x="142" y="133"/>
                  <a:pt x="142" y="126"/>
                  <a:pt x="137" y="121"/>
                </a:cubicBezTo>
                <a:lnTo>
                  <a:pt x="38" y="22"/>
                </a:lnTo>
                <a:close/>
                <a:moveTo>
                  <a:pt x="566" y="11"/>
                </a:moveTo>
                <a:lnTo>
                  <a:pt x="566" y="110"/>
                </a:lnTo>
                <a:cubicBezTo>
                  <a:pt x="566" y="116"/>
                  <a:pt x="561" y="121"/>
                  <a:pt x="555" y="121"/>
                </a:cubicBezTo>
                <a:cubicBezTo>
                  <a:pt x="549" y="121"/>
                  <a:pt x="544" y="116"/>
                  <a:pt x="544" y="110"/>
                </a:cubicBezTo>
                <a:lnTo>
                  <a:pt x="544" y="38"/>
                </a:lnTo>
                <a:lnTo>
                  <a:pt x="444" y="137"/>
                </a:lnTo>
                <a:cubicBezTo>
                  <a:pt x="442" y="140"/>
                  <a:pt x="439" y="141"/>
                  <a:pt x="436" y="141"/>
                </a:cubicBezTo>
                <a:cubicBezTo>
                  <a:pt x="434" y="141"/>
                  <a:pt x="431" y="140"/>
                  <a:pt x="428" y="137"/>
                </a:cubicBezTo>
                <a:cubicBezTo>
                  <a:pt x="424" y="133"/>
                  <a:pt x="424" y="126"/>
                  <a:pt x="428" y="121"/>
                </a:cubicBezTo>
                <a:lnTo>
                  <a:pt x="528" y="22"/>
                </a:lnTo>
                <a:lnTo>
                  <a:pt x="456" y="22"/>
                </a:lnTo>
                <a:cubicBezTo>
                  <a:pt x="450" y="22"/>
                  <a:pt x="445" y="17"/>
                  <a:pt x="445" y="11"/>
                </a:cubicBezTo>
                <a:cubicBezTo>
                  <a:pt x="445" y="5"/>
                  <a:pt x="450" y="0"/>
                  <a:pt x="456" y="0"/>
                </a:cubicBezTo>
                <a:lnTo>
                  <a:pt x="555" y="0"/>
                </a:lnTo>
                <a:lnTo>
                  <a:pt x="555" y="0"/>
                </a:lnTo>
                <a:lnTo>
                  <a:pt x="555" y="0"/>
                </a:lnTo>
                <a:lnTo>
                  <a:pt x="555" y="0"/>
                </a:lnTo>
                <a:lnTo>
                  <a:pt x="555" y="0"/>
                </a:lnTo>
                <a:cubicBezTo>
                  <a:pt x="558" y="0"/>
                  <a:pt x="560" y="1"/>
                  <a:pt x="562" y="2"/>
                </a:cubicBezTo>
                <a:cubicBezTo>
                  <a:pt x="563" y="3"/>
                  <a:pt x="564" y="3"/>
                  <a:pt x="564" y="4"/>
                </a:cubicBezTo>
                <a:cubicBezTo>
                  <a:pt x="565" y="6"/>
                  <a:pt x="566" y="8"/>
                  <a:pt x="566" y="10"/>
                </a:cubicBezTo>
                <a:cubicBezTo>
                  <a:pt x="566" y="10"/>
                  <a:pt x="566" y="11"/>
                  <a:pt x="566" y="11"/>
                </a:cubicBezTo>
              </a:path>
            </a:pathLst>
          </a:custGeom>
          <a:solidFill>
            <a:srgbClr val="A100FF"/>
          </a:solidFill>
          <a:ln w="12700">
            <a:solidFill>
              <a:schemeClr val="accent6">
                <a:lumMod val="75000"/>
              </a:scheme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34" name="Group 121">
            <a:extLst>
              <a:ext uri="{FF2B5EF4-FFF2-40B4-BE49-F238E27FC236}">
                <a16:creationId xmlns:a16="http://schemas.microsoft.com/office/drawing/2014/main" id="{71288BD5-96FA-4D46-B63A-01F266306C37}"/>
              </a:ext>
            </a:extLst>
          </p:cNvPr>
          <p:cNvGrpSpPr>
            <a:grpSpLocks noChangeAspect="1"/>
          </p:cNvGrpSpPr>
          <p:nvPr/>
        </p:nvGrpSpPr>
        <p:grpSpPr bwMode="auto">
          <a:xfrm>
            <a:off x="1421348" y="1734316"/>
            <a:ext cx="463952" cy="548640"/>
            <a:chOff x="552" y="3156"/>
            <a:chExt cx="378" cy="447"/>
          </a:xfrm>
          <a:solidFill>
            <a:srgbClr val="A100FF"/>
          </a:solidFill>
        </p:grpSpPr>
        <p:sp>
          <p:nvSpPr>
            <p:cNvPr id="35" name="Freeform 122">
              <a:extLst>
                <a:ext uri="{FF2B5EF4-FFF2-40B4-BE49-F238E27FC236}">
                  <a16:creationId xmlns:a16="http://schemas.microsoft.com/office/drawing/2014/main" id="{43677858-6DD0-4C53-ACE6-3431A413A4F4}"/>
                </a:ext>
              </a:extLst>
            </p:cNvPr>
            <p:cNvSpPr>
              <a:spLocks/>
            </p:cNvSpPr>
            <p:nvPr/>
          </p:nvSpPr>
          <p:spPr bwMode="auto">
            <a:xfrm>
              <a:off x="708" y="3491"/>
              <a:ext cx="222" cy="112"/>
            </a:xfrm>
            <a:custGeom>
              <a:avLst/>
              <a:gdLst>
                <a:gd name="T0" fmla="*/ 108 w 145"/>
                <a:gd name="T1" fmla="*/ 0 h 75"/>
                <a:gd name="T2" fmla="*/ 68 w 145"/>
                <a:gd name="T3" fmla="*/ 35 h 75"/>
                <a:gd name="T4" fmla="*/ 37 w 145"/>
                <a:gd name="T5" fmla="*/ 66 h 75"/>
                <a:gd name="T6" fmla="*/ 9 w 145"/>
                <a:gd name="T7" fmla="*/ 38 h 75"/>
                <a:gd name="T8" fmla="*/ 37 w 145"/>
                <a:gd name="T9" fmla="*/ 10 h 75"/>
                <a:gd name="T10" fmla="*/ 52 w 145"/>
                <a:gd name="T11" fmla="*/ 17 h 75"/>
                <a:gd name="T12" fmla="*/ 54 w 145"/>
                <a:gd name="T13" fmla="*/ 19 h 75"/>
                <a:gd name="T14" fmla="*/ 44 w 145"/>
                <a:gd name="T15" fmla="*/ 17 h 75"/>
                <a:gd name="T16" fmla="*/ 38 w 145"/>
                <a:gd name="T17" fmla="*/ 21 h 75"/>
                <a:gd name="T18" fmla="*/ 39 w 145"/>
                <a:gd name="T19" fmla="*/ 25 h 75"/>
                <a:gd name="T20" fmla="*/ 42 w 145"/>
                <a:gd name="T21" fmla="*/ 27 h 75"/>
                <a:gd name="T22" fmla="*/ 63 w 145"/>
                <a:gd name="T23" fmla="*/ 31 h 75"/>
                <a:gd name="T24" fmla="*/ 64 w 145"/>
                <a:gd name="T25" fmla="*/ 31 h 75"/>
                <a:gd name="T26" fmla="*/ 64 w 145"/>
                <a:gd name="T27" fmla="*/ 31 h 75"/>
                <a:gd name="T28" fmla="*/ 65 w 145"/>
                <a:gd name="T29" fmla="*/ 30 h 75"/>
                <a:gd name="T30" fmla="*/ 65 w 145"/>
                <a:gd name="T31" fmla="*/ 30 h 75"/>
                <a:gd name="T32" fmla="*/ 66 w 145"/>
                <a:gd name="T33" fmla="*/ 30 h 75"/>
                <a:gd name="T34" fmla="*/ 66 w 145"/>
                <a:gd name="T35" fmla="*/ 30 h 75"/>
                <a:gd name="T36" fmla="*/ 67 w 145"/>
                <a:gd name="T37" fmla="*/ 29 h 75"/>
                <a:gd name="T38" fmla="*/ 68 w 145"/>
                <a:gd name="T39" fmla="*/ 28 h 75"/>
                <a:gd name="T40" fmla="*/ 68 w 145"/>
                <a:gd name="T41" fmla="*/ 28 h 75"/>
                <a:gd name="T42" fmla="*/ 68 w 145"/>
                <a:gd name="T43" fmla="*/ 28 h 75"/>
                <a:gd name="T44" fmla="*/ 68 w 145"/>
                <a:gd name="T45" fmla="*/ 27 h 75"/>
                <a:gd name="T46" fmla="*/ 72 w 145"/>
                <a:gd name="T47" fmla="*/ 6 h 75"/>
                <a:gd name="T48" fmla="*/ 71 w 145"/>
                <a:gd name="T49" fmla="*/ 3 h 75"/>
                <a:gd name="T50" fmla="*/ 68 w 145"/>
                <a:gd name="T51" fmla="*/ 1 h 75"/>
                <a:gd name="T52" fmla="*/ 65 w 145"/>
                <a:gd name="T53" fmla="*/ 1 h 75"/>
                <a:gd name="T54" fmla="*/ 63 w 145"/>
                <a:gd name="T55" fmla="*/ 4 h 75"/>
                <a:gd name="T56" fmla="*/ 61 w 145"/>
                <a:gd name="T57" fmla="*/ 13 h 75"/>
                <a:gd name="T58" fmla="*/ 60 w 145"/>
                <a:gd name="T59" fmla="*/ 12 h 75"/>
                <a:gd name="T60" fmla="*/ 37 w 145"/>
                <a:gd name="T61" fmla="*/ 0 h 75"/>
                <a:gd name="T62" fmla="*/ 0 w 145"/>
                <a:gd name="T63" fmla="*/ 38 h 75"/>
                <a:gd name="T64" fmla="*/ 37 w 145"/>
                <a:gd name="T65" fmla="*/ 75 h 75"/>
                <a:gd name="T66" fmla="*/ 76 w 145"/>
                <a:gd name="T67" fmla="*/ 40 h 75"/>
                <a:gd name="T68" fmla="*/ 108 w 145"/>
                <a:gd name="T69" fmla="*/ 10 h 75"/>
                <a:gd name="T70" fmla="*/ 136 w 145"/>
                <a:gd name="T71" fmla="*/ 38 h 75"/>
                <a:gd name="T72" fmla="*/ 108 w 145"/>
                <a:gd name="T73" fmla="*/ 66 h 75"/>
                <a:gd name="T74" fmla="*/ 85 w 145"/>
                <a:gd name="T75" fmla="*/ 53 h 75"/>
                <a:gd name="T76" fmla="*/ 82 w 145"/>
                <a:gd name="T77" fmla="*/ 51 h 75"/>
                <a:gd name="T78" fmla="*/ 81 w 145"/>
                <a:gd name="T79" fmla="*/ 51 h 75"/>
                <a:gd name="T80" fmla="*/ 79 w 145"/>
                <a:gd name="T81" fmla="*/ 51 h 75"/>
                <a:gd name="T82" fmla="*/ 77 w 145"/>
                <a:gd name="T83" fmla="*/ 58 h 75"/>
                <a:gd name="T84" fmla="*/ 108 w 145"/>
                <a:gd name="T85" fmla="*/ 75 h 75"/>
                <a:gd name="T86" fmla="*/ 145 w 145"/>
                <a:gd name="T87" fmla="*/ 38 h 75"/>
                <a:gd name="T88" fmla="*/ 108 w 145"/>
                <a:gd name="T8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75">
                  <a:moveTo>
                    <a:pt x="108" y="0"/>
                  </a:moveTo>
                  <a:cubicBezTo>
                    <a:pt x="91" y="0"/>
                    <a:pt x="79" y="18"/>
                    <a:pt x="68" y="35"/>
                  </a:cubicBezTo>
                  <a:cubicBezTo>
                    <a:pt x="59" y="50"/>
                    <a:pt x="49" y="66"/>
                    <a:pt x="37" y="66"/>
                  </a:cubicBezTo>
                  <a:cubicBezTo>
                    <a:pt x="22" y="66"/>
                    <a:pt x="9" y="53"/>
                    <a:pt x="9" y="38"/>
                  </a:cubicBezTo>
                  <a:cubicBezTo>
                    <a:pt x="9" y="22"/>
                    <a:pt x="22" y="10"/>
                    <a:pt x="37" y="10"/>
                  </a:cubicBezTo>
                  <a:cubicBezTo>
                    <a:pt x="42" y="10"/>
                    <a:pt x="48" y="12"/>
                    <a:pt x="52" y="17"/>
                  </a:cubicBezTo>
                  <a:cubicBezTo>
                    <a:pt x="54" y="19"/>
                    <a:pt x="54" y="19"/>
                    <a:pt x="54" y="19"/>
                  </a:cubicBezTo>
                  <a:cubicBezTo>
                    <a:pt x="44" y="17"/>
                    <a:pt x="44" y="17"/>
                    <a:pt x="44" y="17"/>
                  </a:cubicBezTo>
                  <a:cubicBezTo>
                    <a:pt x="41" y="17"/>
                    <a:pt x="39" y="19"/>
                    <a:pt x="38" y="21"/>
                  </a:cubicBezTo>
                  <a:cubicBezTo>
                    <a:pt x="38" y="22"/>
                    <a:pt x="38" y="24"/>
                    <a:pt x="39" y="25"/>
                  </a:cubicBezTo>
                  <a:cubicBezTo>
                    <a:pt x="40" y="26"/>
                    <a:pt x="41" y="26"/>
                    <a:pt x="42" y="27"/>
                  </a:cubicBezTo>
                  <a:cubicBezTo>
                    <a:pt x="63" y="31"/>
                    <a:pt x="63" y="31"/>
                    <a:pt x="63" y="31"/>
                  </a:cubicBezTo>
                  <a:cubicBezTo>
                    <a:pt x="63" y="31"/>
                    <a:pt x="63" y="31"/>
                    <a:pt x="64" y="31"/>
                  </a:cubicBezTo>
                  <a:cubicBezTo>
                    <a:pt x="64" y="31"/>
                    <a:pt x="64" y="31"/>
                    <a:pt x="64" y="31"/>
                  </a:cubicBezTo>
                  <a:cubicBezTo>
                    <a:pt x="64" y="31"/>
                    <a:pt x="64" y="31"/>
                    <a:pt x="65" y="30"/>
                  </a:cubicBezTo>
                  <a:cubicBezTo>
                    <a:pt x="65" y="30"/>
                    <a:pt x="65" y="30"/>
                    <a:pt x="65" y="30"/>
                  </a:cubicBezTo>
                  <a:cubicBezTo>
                    <a:pt x="66" y="30"/>
                    <a:pt x="66" y="30"/>
                    <a:pt x="66" y="30"/>
                  </a:cubicBezTo>
                  <a:cubicBezTo>
                    <a:pt x="66" y="30"/>
                    <a:pt x="66" y="30"/>
                    <a:pt x="66" y="30"/>
                  </a:cubicBezTo>
                  <a:cubicBezTo>
                    <a:pt x="66" y="30"/>
                    <a:pt x="67" y="29"/>
                    <a:pt x="67" y="29"/>
                  </a:cubicBezTo>
                  <a:cubicBezTo>
                    <a:pt x="67" y="29"/>
                    <a:pt x="67" y="29"/>
                    <a:pt x="68" y="28"/>
                  </a:cubicBezTo>
                  <a:cubicBezTo>
                    <a:pt x="68" y="28"/>
                    <a:pt x="68" y="28"/>
                    <a:pt x="68" y="28"/>
                  </a:cubicBezTo>
                  <a:cubicBezTo>
                    <a:pt x="68" y="28"/>
                    <a:pt x="68" y="28"/>
                    <a:pt x="68" y="28"/>
                  </a:cubicBezTo>
                  <a:cubicBezTo>
                    <a:pt x="68" y="27"/>
                    <a:pt x="68" y="27"/>
                    <a:pt x="68" y="27"/>
                  </a:cubicBezTo>
                  <a:cubicBezTo>
                    <a:pt x="72" y="6"/>
                    <a:pt x="72" y="6"/>
                    <a:pt x="72" y="6"/>
                  </a:cubicBezTo>
                  <a:cubicBezTo>
                    <a:pt x="72" y="5"/>
                    <a:pt x="72" y="4"/>
                    <a:pt x="71" y="3"/>
                  </a:cubicBezTo>
                  <a:cubicBezTo>
                    <a:pt x="71" y="2"/>
                    <a:pt x="70" y="1"/>
                    <a:pt x="68" y="1"/>
                  </a:cubicBezTo>
                  <a:cubicBezTo>
                    <a:pt x="67" y="0"/>
                    <a:pt x="66" y="1"/>
                    <a:pt x="65" y="1"/>
                  </a:cubicBezTo>
                  <a:cubicBezTo>
                    <a:pt x="64" y="2"/>
                    <a:pt x="63" y="3"/>
                    <a:pt x="63" y="4"/>
                  </a:cubicBezTo>
                  <a:cubicBezTo>
                    <a:pt x="61" y="13"/>
                    <a:pt x="61" y="13"/>
                    <a:pt x="61" y="13"/>
                  </a:cubicBezTo>
                  <a:cubicBezTo>
                    <a:pt x="60" y="12"/>
                    <a:pt x="60" y="12"/>
                    <a:pt x="60" y="12"/>
                  </a:cubicBezTo>
                  <a:cubicBezTo>
                    <a:pt x="53" y="4"/>
                    <a:pt x="46" y="0"/>
                    <a:pt x="37" y="0"/>
                  </a:cubicBezTo>
                  <a:cubicBezTo>
                    <a:pt x="16" y="0"/>
                    <a:pt x="0" y="17"/>
                    <a:pt x="0" y="38"/>
                  </a:cubicBezTo>
                  <a:cubicBezTo>
                    <a:pt x="0" y="58"/>
                    <a:pt x="16" y="75"/>
                    <a:pt x="37" y="75"/>
                  </a:cubicBezTo>
                  <a:cubicBezTo>
                    <a:pt x="54" y="75"/>
                    <a:pt x="66" y="57"/>
                    <a:pt x="76" y="40"/>
                  </a:cubicBezTo>
                  <a:cubicBezTo>
                    <a:pt x="86" y="25"/>
                    <a:pt x="96" y="10"/>
                    <a:pt x="108" y="10"/>
                  </a:cubicBezTo>
                  <a:cubicBezTo>
                    <a:pt x="123" y="10"/>
                    <a:pt x="136" y="22"/>
                    <a:pt x="136" y="38"/>
                  </a:cubicBezTo>
                  <a:cubicBezTo>
                    <a:pt x="136" y="53"/>
                    <a:pt x="123" y="66"/>
                    <a:pt x="108" y="66"/>
                  </a:cubicBezTo>
                  <a:cubicBezTo>
                    <a:pt x="93" y="66"/>
                    <a:pt x="86" y="54"/>
                    <a:pt x="85" y="53"/>
                  </a:cubicBezTo>
                  <a:cubicBezTo>
                    <a:pt x="85" y="52"/>
                    <a:pt x="84" y="51"/>
                    <a:pt x="82" y="51"/>
                  </a:cubicBezTo>
                  <a:cubicBezTo>
                    <a:pt x="82" y="51"/>
                    <a:pt x="82" y="51"/>
                    <a:pt x="81" y="51"/>
                  </a:cubicBezTo>
                  <a:cubicBezTo>
                    <a:pt x="80" y="51"/>
                    <a:pt x="80" y="51"/>
                    <a:pt x="79" y="51"/>
                  </a:cubicBezTo>
                  <a:cubicBezTo>
                    <a:pt x="77" y="53"/>
                    <a:pt x="76" y="56"/>
                    <a:pt x="77" y="58"/>
                  </a:cubicBezTo>
                  <a:cubicBezTo>
                    <a:pt x="78" y="59"/>
                    <a:pt x="88" y="75"/>
                    <a:pt x="108" y="75"/>
                  </a:cubicBezTo>
                  <a:cubicBezTo>
                    <a:pt x="129" y="75"/>
                    <a:pt x="145" y="58"/>
                    <a:pt x="145" y="38"/>
                  </a:cubicBezTo>
                  <a:cubicBezTo>
                    <a:pt x="145" y="17"/>
                    <a:pt x="129" y="0"/>
                    <a:pt x="108" y="0"/>
                  </a:cubicBez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cs typeface="Arial" charset="0"/>
              </a:endParaRPr>
            </a:p>
          </p:txBody>
        </p:sp>
        <p:sp>
          <p:nvSpPr>
            <p:cNvPr id="36" name="Freeform 123">
              <a:extLst>
                <a:ext uri="{FF2B5EF4-FFF2-40B4-BE49-F238E27FC236}">
                  <a16:creationId xmlns:a16="http://schemas.microsoft.com/office/drawing/2014/main" id="{8EBA3F18-9261-4887-B55C-9A1A9C9F655D}"/>
                </a:ext>
              </a:extLst>
            </p:cNvPr>
            <p:cNvSpPr>
              <a:spLocks noEditPoints="1"/>
            </p:cNvSpPr>
            <p:nvPr/>
          </p:nvSpPr>
          <p:spPr bwMode="auto">
            <a:xfrm>
              <a:off x="552" y="3156"/>
              <a:ext cx="309" cy="420"/>
            </a:xfrm>
            <a:custGeom>
              <a:avLst/>
              <a:gdLst>
                <a:gd name="T0" fmla="*/ 16 w 202"/>
                <a:gd name="T1" fmla="*/ 219 h 281"/>
                <a:gd name="T2" fmla="*/ 23 w 202"/>
                <a:gd name="T3" fmla="*/ 209 h 281"/>
                <a:gd name="T4" fmla="*/ 24 w 202"/>
                <a:gd name="T5" fmla="*/ 208 h 281"/>
                <a:gd name="T6" fmla="*/ 158 w 202"/>
                <a:gd name="T7" fmla="*/ 203 h 281"/>
                <a:gd name="T8" fmla="*/ 163 w 202"/>
                <a:gd name="T9" fmla="*/ 209 h 281"/>
                <a:gd name="T10" fmla="*/ 171 w 202"/>
                <a:gd name="T11" fmla="*/ 209 h 281"/>
                <a:gd name="T12" fmla="*/ 171 w 202"/>
                <a:gd name="T13" fmla="*/ 202 h 281"/>
                <a:gd name="T14" fmla="*/ 165 w 202"/>
                <a:gd name="T15" fmla="*/ 195 h 281"/>
                <a:gd name="T16" fmla="*/ 125 w 202"/>
                <a:gd name="T17" fmla="*/ 112 h 281"/>
                <a:gd name="T18" fmla="*/ 126 w 202"/>
                <a:gd name="T19" fmla="*/ 111 h 281"/>
                <a:gd name="T20" fmla="*/ 189 w 202"/>
                <a:gd name="T21" fmla="*/ 121 h 281"/>
                <a:gd name="T22" fmla="*/ 199 w 202"/>
                <a:gd name="T23" fmla="*/ 85 h 281"/>
                <a:gd name="T24" fmla="*/ 175 w 202"/>
                <a:gd name="T25" fmla="*/ 69 h 281"/>
                <a:gd name="T26" fmla="*/ 161 w 202"/>
                <a:gd name="T27" fmla="*/ 43 h 281"/>
                <a:gd name="T28" fmla="*/ 122 w 202"/>
                <a:gd name="T29" fmla="*/ 6 h 281"/>
                <a:gd name="T30" fmla="*/ 116 w 202"/>
                <a:gd name="T31" fmla="*/ 0 h 281"/>
                <a:gd name="T32" fmla="*/ 36 w 202"/>
                <a:gd name="T33" fmla="*/ 64 h 281"/>
                <a:gd name="T34" fmla="*/ 14 w 202"/>
                <a:gd name="T35" fmla="*/ 147 h 281"/>
                <a:gd name="T36" fmla="*/ 21 w 202"/>
                <a:gd name="T37" fmla="*/ 196 h 281"/>
                <a:gd name="T38" fmla="*/ 0 w 202"/>
                <a:gd name="T39" fmla="*/ 239 h 281"/>
                <a:gd name="T40" fmla="*/ 5 w 202"/>
                <a:gd name="T41" fmla="*/ 281 h 281"/>
                <a:gd name="T42" fmla="*/ 85 w 202"/>
                <a:gd name="T43" fmla="*/ 275 h 281"/>
                <a:gd name="T44" fmla="*/ 10 w 202"/>
                <a:gd name="T45" fmla="*/ 270 h 281"/>
                <a:gd name="T46" fmla="*/ 12 w 202"/>
                <a:gd name="T47" fmla="*/ 230 h 281"/>
                <a:gd name="T48" fmla="*/ 88 w 202"/>
                <a:gd name="T49" fmla="*/ 230 h 281"/>
                <a:gd name="T50" fmla="*/ 88 w 202"/>
                <a:gd name="T51" fmla="*/ 219 h 281"/>
                <a:gd name="T52" fmla="*/ 42 w 202"/>
                <a:gd name="T53" fmla="*/ 75 h 281"/>
                <a:gd name="T54" fmla="*/ 109 w 202"/>
                <a:gd name="T55" fmla="*/ 16 h 281"/>
                <a:gd name="T56" fmla="*/ 110 w 202"/>
                <a:gd name="T57" fmla="*/ 33 h 281"/>
                <a:gd name="T58" fmla="*/ 155 w 202"/>
                <a:gd name="T59" fmla="*/ 53 h 281"/>
                <a:gd name="T60" fmla="*/ 168 w 202"/>
                <a:gd name="T61" fmla="*/ 78 h 281"/>
                <a:gd name="T62" fmla="*/ 190 w 202"/>
                <a:gd name="T63" fmla="*/ 92 h 281"/>
                <a:gd name="T64" fmla="*/ 180 w 202"/>
                <a:gd name="T65" fmla="*/ 113 h 281"/>
                <a:gd name="T66" fmla="*/ 107 w 202"/>
                <a:gd name="T67" fmla="*/ 94 h 281"/>
                <a:gd name="T68" fmla="*/ 153 w 202"/>
                <a:gd name="T69" fmla="*/ 192 h 281"/>
                <a:gd name="T70" fmla="*/ 31 w 202"/>
                <a:gd name="T71" fmla="*/ 192 h 281"/>
                <a:gd name="T72" fmla="*/ 25 w 202"/>
                <a:gd name="T73" fmla="*/ 14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281">
                  <a:moveTo>
                    <a:pt x="88" y="219"/>
                  </a:moveTo>
                  <a:cubicBezTo>
                    <a:pt x="16" y="219"/>
                    <a:pt x="16" y="219"/>
                    <a:pt x="16" y="219"/>
                  </a:cubicBezTo>
                  <a:cubicBezTo>
                    <a:pt x="17" y="218"/>
                    <a:pt x="17" y="218"/>
                    <a:pt x="17" y="218"/>
                  </a:cubicBezTo>
                  <a:cubicBezTo>
                    <a:pt x="19" y="215"/>
                    <a:pt x="21" y="212"/>
                    <a:pt x="23" y="209"/>
                  </a:cubicBezTo>
                  <a:cubicBezTo>
                    <a:pt x="23" y="209"/>
                    <a:pt x="23" y="209"/>
                    <a:pt x="23" y="209"/>
                  </a:cubicBezTo>
                  <a:cubicBezTo>
                    <a:pt x="24" y="209"/>
                    <a:pt x="24" y="209"/>
                    <a:pt x="24" y="208"/>
                  </a:cubicBezTo>
                  <a:cubicBezTo>
                    <a:pt x="29" y="203"/>
                    <a:pt x="29" y="203"/>
                    <a:pt x="29" y="203"/>
                  </a:cubicBezTo>
                  <a:cubicBezTo>
                    <a:pt x="158" y="203"/>
                    <a:pt x="158" y="203"/>
                    <a:pt x="158" y="203"/>
                  </a:cubicBezTo>
                  <a:cubicBezTo>
                    <a:pt x="158" y="203"/>
                    <a:pt x="158" y="203"/>
                    <a:pt x="158" y="203"/>
                  </a:cubicBezTo>
                  <a:cubicBezTo>
                    <a:pt x="160" y="205"/>
                    <a:pt x="161" y="207"/>
                    <a:pt x="163" y="209"/>
                  </a:cubicBezTo>
                  <a:cubicBezTo>
                    <a:pt x="164" y="210"/>
                    <a:pt x="165" y="211"/>
                    <a:pt x="167" y="211"/>
                  </a:cubicBezTo>
                  <a:cubicBezTo>
                    <a:pt x="168" y="211"/>
                    <a:pt x="170" y="210"/>
                    <a:pt x="171" y="209"/>
                  </a:cubicBezTo>
                  <a:cubicBezTo>
                    <a:pt x="172" y="209"/>
                    <a:pt x="172" y="207"/>
                    <a:pt x="172" y="206"/>
                  </a:cubicBezTo>
                  <a:cubicBezTo>
                    <a:pt x="173" y="204"/>
                    <a:pt x="172" y="203"/>
                    <a:pt x="171" y="202"/>
                  </a:cubicBezTo>
                  <a:cubicBezTo>
                    <a:pt x="169" y="199"/>
                    <a:pt x="166" y="197"/>
                    <a:pt x="165" y="195"/>
                  </a:cubicBezTo>
                  <a:cubicBezTo>
                    <a:pt x="165" y="195"/>
                    <a:pt x="165" y="195"/>
                    <a:pt x="165" y="195"/>
                  </a:cubicBezTo>
                  <a:cubicBezTo>
                    <a:pt x="165" y="195"/>
                    <a:pt x="165" y="195"/>
                    <a:pt x="165" y="195"/>
                  </a:cubicBezTo>
                  <a:cubicBezTo>
                    <a:pt x="160" y="171"/>
                    <a:pt x="138" y="132"/>
                    <a:pt x="125" y="112"/>
                  </a:cubicBezTo>
                  <a:cubicBezTo>
                    <a:pt x="125" y="110"/>
                    <a:pt x="125" y="110"/>
                    <a:pt x="125" y="110"/>
                  </a:cubicBezTo>
                  <a:cubicBezTo>
                    <a:pt x="126" y="111"/>
                    <a:pt x="126" y="111"/>
                    <a:pt x="126" y="111"/>
                  </a:cubicBezTo>
                  <a:cubicBezTo>
                    <a:pt x="139" y="115"/>
                    <a:pt x="158" y="119"/>
                    <a:pt x="183" y="124"/>
                  </a:cubicBezTo>
                  <a:cubicBezTo>
                    <a:pt x="185" y="125"/>
                    <a:pt x="188" y="123"/>
                    <a:pt x="189" y="121"/>
                  </a:cubicBezTo>
                  <a:cubicBezTo>
                    <a:pt x="201" y="92"/>
                    <a:pt x="201" y="92"/>
                    <a:pt x="201" y="92"/>
                  </a:cubicBezTo>
                  <a:cubicBezTo>
                    <a:pt x="202" y="90"/>
                    <a:pt x="202" y="87"/>
                    <a:pt x="199" y="85"/>
                  </a:cubicBezTo>
                  <a:cubicBezTo>
                    <a:pt x="175" y="69"/>
                    <a:pt x="175" y="69"/>
                    <a:pt x="175" y="69"/>
                  </a:cubicBezTo>
                  <a:cubicBezTo>
                    <a:pt x="175" y="69"/>
                    <a:pt x="175" y="69"/>
                    <a:pt x="175" y="69"/>
                  </a:cubicBezTo>
                  <a:cubicBezTo>
                    <a:pt x="164" y="46"/>
                    <a:pt x="164" y="46"/>
                    <a:pt x="164" y="46"/>
                  </a:cubicBezTo>
                  <a:cubicBezTo>
                    <a:pt x="164" y="45"/>
                    <a:pt x="162" y="44"/>
                    <a:pt x="161" y="43"/>
                  </a:cubicBezTo>
                  <a:cubicBezTo>
                    <a:pt x="121" y="29"/>
                    <a:pt x="121" y="29"/>
                    <a:pt x="121" y="29"/>
                  </a:cubicBezTo>
                  <a:cubicBezTo>
                    <a:pt x="122" y="6"/>
                    <a:pt x="122" y="6"/>
                    <a:pt x="122" y="6"/>
                  </a:cubicBezTo>
                  <a:cubicBezTo>
                    <a:pt x="122" y="4"/>
                    <a:pt x="121" y="2"/>
                    <a:pt x="119" y="1"/>
                  </a:cubicBezTo>
                  <a:cubicBezTo>
                    <a:pt x="118" y="0"/>
                    <a:pt x="117" y="0"/>
                    <a:pt x="116" y="0"/>
                  </a:cubicBezTo>
                  <a:cubicBezTo>
                    <a:pt x="115" y="0"/>
                    <a:pt x="114" y="0"/>
                    <a:pt x="113" y="1"/>
                  </a:cubicBezTo>
                  <a:cubicBezTo>
                    <a:pt x="107" y="5"/>
                    <a:pt x="47" y="42"/>
                    <a:pt x="36" y="64"/>
                  </a:cubicBezTo>
                  <a:cubicBezTo>
                    <a:pt x="35" y="66"/>
                    <a:pt x="34" y="68"/>
                    <a:pt x="33" y="70"/>
                  </a:cubicBezTo>
                  <a:cubicBezTo>
                    <a:pt x="23" y="90"/>
                    <a:pt x="11" y="112"/>
                    <a:pt x="14" y="147"/>
                  </a:cubicBezTo>
                  <a:cubicBezTo>
                    <a:pt x="16" y="173"/>
                    <a:pt x="19" y="189"/>
                    <a:pt x="21" y="196"/>
                  </a:cubicBezTo>
                  <a:cubicBezTo>
                    <a:pt x="21" y="196"/>
                    <a:pt x="21" y="196"/>
                    <a:pt x="21" y="196"/>
                  </a:cubicBezTo>
                  <a:cubicBezTo>
                    <a:pt x="20" y="196"/>
                    <a:pt x="20" y="196"/>
                    <a:pt x="20" y="196"/>
                  </a:cubicBezTo>
                  <a:cubicBezTo>
                    <a:pt x="14" y="202"/>
                    <a:pt x="0" y="219"/>
                    <a:pt x="0" y="239"/>
                  </a:cubicBezTo>
                  <a:cubicBezTo>
                    <a:pt x="0" y="275"/>
                    <a:pt x="0" y="275"/>
                    <a:pt x="0" y="275"/>
                  </a:cubicBezTo>
                  <a:cubicBezTo>
                    <a:pt x="0" y="278"/>
                    <a:pt x="2" y="281"/>
                    <a:pt x="5" y="281"/>
                  </a:cubicBezTo>
                  <a:cubicBezTo>
                    <a:pt x="80" y="281"/>
                    <a:pt x="80" y="281"/>
                    <a:pt x="80" y="281"/>
                  </a:cubicBezTo>
                  <a:cubicBezTo>
                    <a:pt x="83" y="281"/>
                    <a:pt x="85" y="278"/>
                    <a:pt x="85" y="275"/>
                  </a:cubicBezTo>
                  <a:cubicBezTo>
                    <a:pt x="85" y="272"/>
                    <a:pt x="83" y="270"/>
                    <a:pt x="80" y="270"/>
                  </a:cubicBezTo>
                  <a:cubicBezTo>
                    <a:pt x="10" y="270"/>
                    <a:pt x="10" y="270"/>
                    <a:pt x="10" y="270"/>
                  </a:cubicBezTo>
                  <a:cubicBezTo>
                    <a:pt x="10" y="239"/>
                    <a:pt x="10" y="239"/>
                    <a:pt x="10" y="239"/>
                  </a:cubicBezTo>
                  <a:cubicBezTo>
                    <a:pt x="10" y="236"/>
                    <a:pt x="11" y="233"/>
                    <a:pt x="12" y="230"/>
                  </a:cubicBezTo>
                  <a:cubicBezTo>
                    <a:pt x="12" y="230"/>
                    <a:pt x="12" y="230"/>
                    <a:pt x="12" y="230"/>
                  </a:cubicBezTo>
                  <a:cubicBezTo>
                    <a:pt x="88" y="230"/>
                    <a:pt x="88" y="230"/>
                    <a:pt x="88" y="230"/>
                  </a:cubicBezTo>
                  <a:cubicBezTo>
                    <a:pt x="91" y="230"/>
                    <a:pt x="93" y="228"/>
                    <a:pt x="93" y="225"/>
                  </a:cubicBezTo>
                  <a:cubicBezTo>
                    <a:pt x="93" y="222"/>
                    <a:pt x="91" y="219"/>
                    <a:pt x="88" y="219"/>
                  </a:cubicBezTo>
                  <a:close/>
                  <a:moveTo>
                    <a:pt x="42" y="75"/>
                  </a:moveTo>
                  <a:cubicBezTo>
                    <a:pt x="42" y="75"/>
                    <a:pt x="42" y="75"/>
                    <a:pt x="42" y="75"/>
                  </a:cubicBezTo>
                  <a:cubicBezTo>
                    <a:pt x="43" y="73"/>
                    <a:pt x="44" y="71"/>
                    <a:pt x="45" y="69"/>
                  </a:cubicBezTo>
                  <a:cubicBezTo>
                    <a:pt x="53" y="53"/>
                    <a:pt x="96" y="25"/>
                    <a:pt x="109" y="16"/>
                  </a:cubicBezTo>
                  <a:cubicBezTo>
                    <a:pt x="110" y="16"/>
                    <a:pt x="110" y="16"/>
                    <a:pt x="110" y="16"/>
                  </a:cubicBezTo>
                  <a:cubicBezTo>
                    <a:pt x="110" y="33"/>
                    <a:pt x="110" y="33"/>
                    <a:pt x="110" y="33"/>
                  </a:cubicBezTo>
                  <a:cubicBezTo>
                    <a:pt x="110" y="35"/>
                    <a:pt x="111" y="37"/>
                    <a:pt x="113" y="38"/>
                  </a:cubicBezTo>
                  <a:cubicBezTo>
                    <a:pt x="155" y="53"/>
                    <a:pt x="155" y="53"/>
                    <a:pt x="155" y="53"/>
                  </a:cubicBezTo>
                  <a:cubicBezTo>
                    <a:pt x="166" y="75"/>
                    <a:pt x="166" y="75"/>
                    <a:pt x="166" y="75"/>
                  </a:cubicBezTo>
                  <a:cubicBezTo>
                    <a:pt x="166" y="76"/>
                    <a:pt x="167" y="77"/>
                    <a:pt x="168" y="78"/>
                  </a:cubicBezTo>
                  <a:cubicBezTo>
                    <a:pt x="190" y="92"/>
                    <a:pt x="190" y="92"/>
                    <a:pt x="190" y="92"/>
                  </a:cubicBezTo>
                  <a:cubicBezTo>
                    <a:pt x="190" y="92"/>
                    <a:pt x="190" y="92"/>
                    <a:pt x="190" y="92"/>
                  </a:cubicBezTo>
                  <a:cubicBezTo>
                    <a:pt x="181" y="113"/>
                    <a:pt x="181" y="113"/>
                    <a:pt x="181" y="113"/>
                  </a:cubicBezTo>
                  <a:cubicBezTo>
                    <a:pt x="180" y="113"/>
                    <a:pt x="180" y="113"/>
                    <a:pt x="180" y="113"/>
                  </a:cubicBezTo>
                  <a:cubicBezTo>
                    <a:pt x="152" y="107"/>
                    <a:pt x="120" y="99"/>
                    <a:pt x="115" y="95"/>
                  </a:cubicBezTo>
                  <a:cubicBezTo>
                    <a:pt x="113" y="93"/>
                    <a:pt x="110" y="92"/>
                    <a:pt x="107" y="94"/>
                  </a:cubicBezTo>
                  <a:cubicBezTo>
                    <a:pt x="105" y="95"/>
                    <a:pt x="104" y="99"/>
                    <a:pt x="106" y="101"/>
                  </a:cubicBezTo>
                  <a:cubicBezTo>
                    <a:pt x="108" y="104"/>
                    <a:pt x="144" y="159"/>
                    <a:pt x="153" y="192"/>
                  </a:cubicBezTo>
                  <a:cubicBezTo>
                    <a:pt x="153" y="192"/>
                    <a:pt x="153" y="192"/>
                    <a:pt x="153" y="192"/>
                  </a:cubicBezTo>
                  <a:cubicBezTo>
                    <a:pt x="31" y="192"/>
                    <a:pt x="31" y="192"/>
                    <a:pt x="31" y="192"/>
                  </a:cubicBezTo>
                  <a:cubicBezTo>
                    <a:pt x="31" y="192"/>
                    <a:pt x="31" y="192"/>
                    <a:pt x="31" y="192"/>
                  </a:cubicBezTo>
                  <a:cubicBezTo>
                    <a:pt x="29" y="185"/>
                    <a:pt x="27" y="170"/>
                    <a:pt x="25" y="146"/>
                  </a:cubicBezTo>
                  <a:cubicBezTo>
                    <a:pt x="22" y="114"/>
                    <a:pt x="33" y="94"/>
                    <a:pt x="42" y="75"/>
                  </a:cubicBez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a:solidFill>
                  <a:srgbClr val="96968C"/>
                </a:solidFill>
                <a:cs typeface="Arial" charset="0"/>
              </a:endParaRPr>
            </a:p>
          </p:txBody>
        </p:sp>
      </p:grpSp>
      <p:grpSp>
        <p:nvGrpSpPr>
          <p:cNvPr id="37" name="Group 72">
            <a:extLst>
              <a:ext uri="{FF2B5EF4-FFF2-40B4-BE49-F238E27FC236}">
                <a16:creationId xmlns:a16="http://schemas.microsoft.com/office/drawing/2014/main" id="{49EDBCAF-59AA-4299-BED3-CA18438473BA}"/>
              </a:ext>
            </a:extLst>
          </p:cNvPr>
          <p:cNvGrpSpPr>
            <a:grpSpLocks noChangeAspect="1"/>
          </p:cNvGrpSpPr>
          <p:nvPr/>
        </p:nvGrpSpPr>
        <p:grpSpPr bwMode="auto">
          <a:xfrm>
            <a:off x="6720183" y="1717746"/>
            <a:ext cx="409874" cy="548640"/>
            <a:chOff x="3489" y="1716"/>
            <a:chExt cx="319" cy="427"/>
          </a:xfrm>
          <a:solidFill>
            <a:srgbClr val="A100FF"/>
          </a:solidFill>
        </p:grpSpPr>
        <p:sp>
          <p:nvSpPr>
            <p:cNvPr id="38" name="Freeform 73">
              <a:extLst>
                <a:ext uri="{FF2B5EF4-FFF2-40B4-BE49-F238E27FC236}">
                  <a16:creationId xmlns:a16="http://schemas.microsoft.com/office/drawing/2014/main" id="{9DE191FF-7B57-4610-A686-7904C0F9AD30}"/>
                </a:ext>
              </a:extLst>
            </p:cNvPr>
            <p:cNvSpPr>
              <a:spLocks noEditPoints="1"/>
            </p:cNvSpPr>
            <p:nvPr/>
          </p:nvSpPr>
          <p:spPr bwMode="auto">
            <a:xfrm>
              <a:off x="3489" y="1716"/>
              <a:ext cx="319" cy="196"/>
            </a:xfrm>
            <a:custGeom>
              <a:avLst/>
              <a:gdLst>
                <a:gd name="T0" fmla="*/ 41 w 216"/>
                <a:gd name="T1" fmla="*/ 132 h 132"/>
                <a:gd name="T2" fmla="*/ 10 w 216"/>
                <a:gd name="T3" fmla="*/ 120 h 132"/>
                <a:gd name="T4" fmla="*/ 0 w 216"/>
                <a:gd name="T5" fmla="*/ 94 h 132"/>
                <a:gd name="T6" fmla="*/ 14 w 216"/>
                <a:gd name="T7" fmla="*/ 65 h 132"/>
                <a:gd name="T8" fmla="*/ 41 w 216"/>
                <a:gd name="T9" fmla="*/ 56 h 132"/>
                <a:gd name="T10" fmla="*/ 108 w 216"/>
                <a:gd name="T11" fmla="*/ 0 h 132"/>
                <a:gd name="T12" fmla="*/ 168 w 216"/>
                <a:gd name="T13" fmla="*/ 34 h 132"/>
                <a:gd name="T14" fmla="*/ 201 w 216"/>
                <a:gd name="T15" fmla="*/ 49 h 132"/>
                <a:gd name="T16" fmla="*/ 216 w 216"/>
                <a:gd name="T17" fmla="*/ 83 h 132"/>
                <a:gd name="T18" fmla="*/ 171 w 216"/>
                <a:gd name="T19" fmla="*/ 132 h 132"/>
                <a:gd name="T20" fmla="*/ 170 w 216"/>
                <a:gd name="T21" fmla="*/ 132 h 132"/>
                <a:gd name="T22" fmla="*/ 41 w 216"/>
                <a:gd name="T23" fmla="*/ 132 h 132"/>
                <a:gd name="T24" fmla="*/ 41 w 216"/>
                <a:gd name="T25" fmla="*/ 132 h 132"/>
                <a:gd name="T26" fmla="*/ 39 w 216"/>
                <a:gd name="T27" fmla="*/ 68 h 132"/>
                <a:gd name="T28" fmla="*/ 21 w 216"/>
                <a:gd name="T29" fmla="*/ 74 h 132"/>
                <a:gd name="T30" fmla="*/ 12 w 216"/>
                <a:gd name="T31" fmla="*/ 94 h 132"/>
                <a:gd name="T32" fmla="*/ 18 w 216"/>
                <a:gd name="T33" fmla="*/ 112 h 132"/>
                <a:gd name="T34" fmla="*/ 41 w 216"/>
                <a:gd name="T35" fmla="*/ 120 h 132"/>
                <a:gd name="T36" fmla="*/ 170 w 216"/>
                <a:gd name="T37" fmla="*/ 120 h 132"/>
                <a:gd name="T38" fmla="*/ 204 w 216"/>
                <a:gd name="T39" fmla="*/ 83 h 132"/>
                <a:gd name="T40" fmla="*/ 193 w 216"/>
                <a:gd name="T41" fmla="*/ 57 h 132"/>
                <a:gd name="T42" fmla="*/ 164 w 216"/>
                <a:gd name="T43" fmla="*/ 46 h 132"/>
                <a:gd name="T44" fmla="*/ 159 w 216"/>
                <a:gd name="T45" fmla="*/ 43 h 132"/>
                <a:gd name="T46" fmla="*/ 108 w 216"/>
                <a:gd name="T47" fmla="*/ 12 h 132"/>
                <a:gd name="T48" fmla="*/ 52 w 216"/>
                <a:gd name="T49" fmla="*/ 63 h 132"/>
                <a:gd name="T50" fmla="*/ 50 w 216"/>
                <a:gd name="T51" fmla="*/ 67 h 132"/>
                <a:gd name="T52" fmla="*/ 45 w 216"/>
                <a:gd name="T53" fmla="*/ 68 h 132"/>
                <a:gd name="T54" fmla="*/ 39 w 216"/>
                <a:gd name="T55" fmla="*/ 6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6" h="132">
                  <a:moveTo>
                    <a:pt x="41" y="132"/>
                  </a:moveTo>
                  <a:cubicBezTo>
                    <a:pt x="39" y="132"/>
                    <a:pt x="22" y="132"/>
                    <a:pt x="10" y="120"/>
                  </a:cubicBezTo>
                  <a:cubicBezTo>
                    <a:pt x="3" y="114"/>
                    <a:pt x="0" y="105"/>
                    <a:pt x="0" y="94"/>
                  </a:cubicBezTo>
                  <a:cubicBezTo>
                    <a:pt x="0" y="83"/>
                    <a:pt x="5" y="72"/>
                    <a:pt x="14" y="65"/>
                  </a:cubicBezTo>
                  <a:cubicBezTo>
                    <a:pt x="21" y="59"/>
                    <a:pt x="31" y="55"/>
                    <a:pt x="41" y="56"/>
                  </a:cubicBezTo>
                  <a:cubicBezTo>
                    <a:pt x="46" y="24"/>
                    <a:pt x="74" y="0"/>
                    <a:pt x="108" y="0"/>
                  </a:cubicBezTo>
                  <a:cubicBezTo>
                    <a:pt x="133" y="0"/>
                    <a:pt x="156" y="13"/>
                    <a:pt x="168" y="34"/>
                  </a:cubicBezTo>
                  <a:cubicBezTo>
                    <a:pt x="180" y="35"/>
                    <a:pt x="192" y="40"/>
                    <a:pt x="201" y="49"/>
                  </a:cubicBezTo>
                  <a:cubicBezTo>
                    <a:pt x="211" y="58"/>
                    <a:pt x="216" y="70"/>
                    <a:pt x="216" y="83"/>
                  </a:cubicBezTo>
                  <a:cubicBezTo>
                    <a:pt x="216" y="117"/>
                    <a:pt x="186" y="130"/>
                    <a:pt x="171" y="132"/>
                  </a:cubicBezTo>
                  <a:cubicBezTo>
                    <a:pt x="170" y="132"/>
                    <a:pt x="170" y="132"/>
                    <a:pt x="170" y="132"/>
                  </a:cubicBezTo>
                  <a:cubicBezTo>
                    <a:pt x="41" y="132"/>
                    <a:pt x="41" y="132"/>
                    <a:pt x="41" y="132"/>
                  </a:cubicBezTo>
                  <a:cubicBezTo>
                    <a:pt x="41" y="132"/>
                    <a:pt x="41" y="132"/>
                    <a:pt x="41" y="132"/>
                  </a:cubicBezTo>
                  <a:close/>
                  <a:moveTo>
                    <a:pt x="39" y="68"/>
                  </a:moveTo>
                  <a:cubicBezTo>
                    <a:pt x="33" y="68"/>
                    <a:pt x="26" y="70"/>
                    <a:pt x="21" y="74"/>
                  </a:cubicBezTo>
                  <a:cubicBezTo>
                    <a:pt x="15" y="79"/>
                    <a:pt x="12" y="86"/>
                    <a:pt x="12" y="94"/>
                  </a:cubicBezTo>
                  <a:cubicBezTo>
                    <a:pt x="12" y="101"/>
                    <a:pt x="14" y="107"/>
                    <a:pt x="18" y="112"/>
                  </a:cubicBezTo>
                  <a:cubicBezTo>
                    <a:pt x="27" y="120"/>
                    <a:pt x="41" y="120"/>
                    <a:pt x="41" y="120"/>
                  </a:cubicBezTo>
                  <a:cubicBezTo>
                    <a:pt x="170" y="120"/>
                    <a:pt x="170" y="120"/>
                    <a:pt x="170" y="120"/>
                  </a:cubicBezTo>
                  <a:cubicBezTo>
                    <a:pt x="173" y="119"/>
                    <a:pt x="204" y="114"/>
                    <a:pt x="204" y="83"/>
                  </a:cubicBezTo>
                  <a:cubicBezTo>
                    <a:pt x="204" y="73"/>
                    <a:pt x="200" y="64"/>
                    <a:pt x="193" y="57"/>
                  </a:cubicBezTo>
                  <a:cubicBezTo>
                    <a:pt x="185" y="50"/>
                    <a:pt x="175" y="46"/>
                    <a:pt x="164" y="46"/>
                  </a:cubicBezTo>
                  <a:cubicBezTo>
                    <a:pt x="162" y="46"/>
                    <a:pt x="160" y="45"/>
                    <a:pt x="159" y="43"/>
                  </a:cubicBezTo>
                  <a:cubicBezTo>
                    <a:pt x="149" y="24"/>
                    <a:pt x="129" y="12"/>
                    <a:pt x="108" y="12"/>
                  </a:cubicBezTo>
                  <a:cubicBezTo>
                    <a:pt x="78" y="12"/>
                    <a:pt x="54" y="34"/>
                    <a:pt x="52" y="63"/>
                  </a:cubicBezTo>
                  <a:cubicBezTo>
                    <a:pt x="52" y="65"/>
                    <a:pt x="51" y="66"/>
                    <a:pt x="50" y="67"/>
                  </a:cubicBezTo>
                  <a:cubicBezTo>
                    <a:pt x="48" y="68"/>
                    <a:pt x="46" y="69"/>
                    <a:pt x="45" y="68"/>
                  </a:cubicBezTo>
                  <a:cubicBezTo>
                    <a:pt x="43" y="68"/>
                    <a:pt x="41" y="68"/>
                    <a:pt x="39" y="68"/>
                  </a:cubicBez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39" name="Freeform 74">
              <a:extLst>
                <a:ext uri="{FF2B5EF4-FFF2-40B4-BE49-F238E27FC236}">
                  <a16:creationId xmlns:a16="http://schemas.microsoft.com/office/drawing/2014/main" id="{7D43B182-EC4D-418F-9235-A1CA3C400CDA}"/>
                </a:ext>
              </a:extLst>
            </p:cNvPr>
            <p:cNvSpPr>
              <a:spLocks noEditPoints="1"/>
            </p:cNvSpPr>
            <p:nvPr/>
          </p:nvSpPr>
          <p:spPr bwMode="auto">
            <a:xfrm>
              <a:off x="3489" y="1947"/>
              <a:ext cx="319" cy="107"/>
            </a:xfrm>
            <a:custGeom>
              <a:avLst/>
              <a:gdLst>
                <a:gd name="T0" fmla="*/ 210 w 216"/>
                <a:gd name="T1" fmla="*/ 72 h 72"/>
                <a:gd name="T2" fmla="*/ 6 w 216"/>
                <a:gd name="T3" fmla="*/ 72 h 72"/>
                <a:gd name="T4" fmla="*/ 0 w 216"/>
                <a:gd name="T5" fmla="*/ 66 h 72"/>
                <a:gd name="T6" fmla="*/ 0 w 216"/>
                <a:gd name="T7" fmla="*/ 6 h 72"/>
                <a:gd name="T8" fmla="*/ 6 w 216"/>
                <a:gd name="T9" fmla="*/ 0 h 72"/>
                <a:gd name="T10" fmla="*/ 210 w 216"/>
                <a:gd name="T11" fmla="*/ 0 h 72"/>
                <a:gd name="T12" fmla="*/ 216 w 216"/>
                <a:gd name="T13" fmla="*/ 6 h 72"/>
                <a:gd name="T14" fmla="*/ 216 w 216"/>
                <a:gd name="T15" fmla="*/ 66 h 72"/>
                <a:gd name="T16" fmla="*/ 210 w 216"/>
                <a:gd name="T17" fmla="*/ 72 h 72"/>
                <a:gd name="T18" fmla="*/ 12 w 216"/>
                <a:gd name="T19" fmla="*/ 60 h 72"/>
                <a:gd name="T20" fmla="*/ 204 w 216"/>
                <a:gd name="T21" fmla="*/ 60 h 72"/>
                <a:gd name="T22" fmla="*/ 204 w 216"/>
                <a:gd name="T23" fmla="*/ 12 h 72"/>
                <a:gd name="T24" fmla="*/ 12 w 216"/>
                <a:gd name="T25" fmla="*/ 12 h 72"/>
                <a:gd name="T26" fmla="*/ 12 w 216"/>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72">
                  <a:moveTo>
                    <a:pt x="210" y="72"/>
                  </a:moveTo>
                  <a:cubicBezTo>
                    <a:pt x="6" y="72"/>
                    <a:pt x="6" y="72"/>
                    <a:pt x="6" y="72"/>
                  </a:cubicBezTo>
                  <a:cubicBezTo>
                    <a:pt x="3" y="72"/>
                    <a:pt x="0" y="69"/>
                    <a:pt x="0" y="66"/>
                  </a:cubicBezTo>
                  <a:cubicBezTo>
                    <a:pt x="0" y="6"/>
                    <a:pt x="0" y="6"/>
                    <a:pt x="0" y="6"/>
                  </a:cubicBezTo>
                  <a:cubicBezTo>
                    <a:pt x="0" y="3"/>
                    <a:pt x="3" y="0"/>
                    <a:pt x="6" y="0"/>
                  </a:cubicBezTo>
                  <a:cubicBezTo>
                    <a:pt x="210" y="0"/>
                    <a:pt x="210" y="0"/>
                    <a:pt x="210" y="0"/>
                  </a:cubicBezTo>
                  <a:cubicBezTo>
                    <a:pt x="213" y="0"/>
                    <a:pt x="216" y="3"/>
                    <a:pt x="216" y="6"/>
                  </a:cubicBezTo>
                  <a:cubicBezTo>
                    <a:pt x="216" y="66"/>
                    <a:pt x="216" y="66"/>
                    <a:pt x="216" y="66"/>
                  </a:cubicBezTo>
                  <a:cubicBezTo>
                    <a:pt x="216" y="69"/>
                    <a:pt x="213" y="72"/>
                    <a:pt x="210" y="72"/>
                  </a:cubicBezTo>
                  <a:close/>
                  <a:moveTo>
                    <a:pt x="12" y="60"/>
                  </a:moveTo>
                  <a:cubicBezTo>
                    <a:pt x="204" y="60"/>
                    <a:pt x="204" y="60"/>
                    <a:pt x="204" y="60"/>
                  </a:cubicBezTo>
                  <a:cubicBezTo>
                    <a:pt x="204" y="12"/>
                    <a:pt x="204" y="12"/>
                    <a:pt x="204" y="12"/>
                  </a:cubicBezTo>
                  <a:cubicBezTo>
                    <a:pt x="12" y="12"/>
                    <a:pt x="12" y="12"/>
                    <a:pt x="12" y="12"/>
                  </a:cubicBezTo>
                  <a:lnTo>
                    <a:pt x="12" y="60"/>
                  </a:ln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0" name="Freeform 75">
              <a:extLst>
                <a:ext uri="{FF2B5EF4-FFF2-40B4-BE49-F238E27FC236}">
                  <a16:creationId xmlns:a16="http://schemas.microsoft.com/office/drawing/2014/main" id="{0973339A-AAA5-41F8-9C07-070E727A41BB}"/>
                </a:ext>
              </a:extLst>
            </p:cNvPr>
            <p:cNvSpPr>
              <a:spLocks noEditPoints="1"/>
            </p:cNvSpPr>
            <p:nvPr/>
          </p:nvSpPr>
          <p:spPr bwMode="auto">
            <a:xfrm>
              <a:off x="3489" y="2036"/>
              <a:ext cx="319" cy="107"/>
            </a:xfrm>
            <a:custGeom>
              <a:avLst/>
              <a:gdLst>
                <a:gd name="T0" fmla="*/ 210 w 216"/>
                <a:gd name="T1" fmla="*/ 72 h 72"/>
                <a:gd name="T2" fmla="*/ 6 w 216"/>
                <a:gd name="T3" fmla="*/ 72 h 72"/>
                <a:gd name="T4" fmla="*/ 0 w 216"/>
                <a:gd name="T5" fmla="*/ 66 h 72"/>
                <a:gd name="T6" fmla="*/ 0 w 216"/>
                <a:gd name="T7" fmla="*/ 6 h 72"/>
                <a:gd name="T8" fmla="*/ 6 w 216"/>
                <a:gd name="T9" fmla="*/ 0 h 72"/>
                <a:gd name="T10" fmla="*/ 210 w 216"/>
                <a:gd name="T11" fmla="*/ 0 h 72"/>
                <a:gd name="T12" fmla="*/ 216 w 216"/>
                <a:gd name="T13" fmla="*/ 6 h 72"/>
                <a:gd name="T14" fmla="*/ 216 w 216"/>
                <a:gd name="T15" fmla="*/ 66 h 72"/>
                <a:gd name="T16" fmla="*/ 210 w 216"/>
                <a:gd name="T17" fmla="*/ 72 h 72"/>
                <a:gd name="T18" fmla="*/ 12 w 216"/>
                <a:gd name="T19" fmla="*/ 60 h 72"/>
                <a:gd name="T20" fmla="*/ 204 w 216"/>
                <a:gd name="T21" fmla="*/ 60 h 72"/>
                <a:gd name="T22" fmla="*/ 204 w 216"/>
                <a:gd name="T23" fmla="*/ 12 h 72"/>
                <a:gd name="T24" fmla="*/ 12 w 216"/>
                <a:gd name="T25" fmla="*/ 12 h 72"/>
                <a:gd name="T26" fmla="*/ 12 w 216"/>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72">
                  <a:moveTo>
                    <a:pt x="210" y="72"/>
                  </a:moveTo>
                  <a:cubicBezTo>
                    <a:pt x="6" y="72"/>
                    <a:pt x="6" y="72"/>
                    <a:pt x="6" y="72"/>
                  </a:cubicBezTo>
                  <a:cubicBezTo>
                    <a:pt x="3" y="72"/>
                    <a:pt x="0" y="69"/>
                    <a:pt x="0" y="66"/>
                  </a:cubicBezTo>
                  <a:cubicBezTo>
                    <a:pt x="0" y="6"/>
                    <a:pt x="0" y="6"/>
                    <a:pt x="0" y="6"/>
                  </a:cubicBezTo>
                  <a:cubicBezTo>
                    <a:pt x="0" y="3"/>
                    <a:pt x="3" y="0"/>
                    <a:pt x="6" y="0"/>
                  </a:cubicBezTo>
                  <a:cubicBezTo>
                    <a:pt x="210" y="0"/>
                    <a:pt x="210" y="0"/>
                    <a:pt x="210" y="0"/>
                  </a:cubicBezTo>
                  <a:cubicBezTo>
                    <a:pt x="213" y="0"/>
                    <a:pt x="216" y="3"/>
                    <a:pt x="216" y="6"/>
                  </a:cubicBezTo>
                  <a:cubicBezTo>
                    <a:pt x="216" y="66"/>
                    <a:pt x="216" y="66"/>
                    <a:pt x="216" y="66"/>
                  </a:cubicBezTo>
                  <a:cubicBezTo>
                    <a:pt x="216" y="69"/>
                    <a:pt x="213" y="72"/>
                    <a:pt x="210" y="72"/>
                  </a:cubicBezTo>
                  <a:close/>
                  <a:moveTo>
                    <a:pt x="12" y="60"/>
                  </a:moveTo>
                  <a:cubicBezTo>
                    <a:pt x="204" y="60"/>
                    <a:pt x="204" y="60"/>
                    <a:pt x="204" y="60"/>
                  </a:cubicBezTo>
                  <a:cubicBezTo>
                    <a:pt x="204" y="12"/>
                    <a:pt x="204" y="12"/>
                    <a:pt x="204" y="12"/>
                  </a:cubicBezTo>
                  <a:cubicBezTo>
                    <a:pt x="12" y="12"/>
                    <a:pt x="12" y="12"/>
                    <a:pt x="12" y="12"/>
                  </a:cubicBezTo>
                  <a:lnTo>
                    <a:pt x="12" y="60"/>
                  </a:ln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1" name="Freeform 76">
              <a:extLst>
                <a:ext uri="{FF2B5EF4-FFF2-40B4-BE49-F238E27FC236}">
                  <a16:creationId xmlns:a16="http://schemas.microsoft.com/office/drawing/2014/main" id="{D874A262-47CC-4612-94AE-AA628D500446}"/>
                </a:ext>
              </a:extLst>
            </p:cNvPr>
            <p:cNvSpPr>
              <a:spLocks noEditPoints="1"/>
            </p:cNvSpPr>
            <p:nvPr/>
          </p:nvSpPr>
          <p:spPr bwMode="auto">
            <a:xfrm>
              <a:off x="3533" y="1974"/>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1" y="24"/>
                    <a:pt x="24" y="21"/>
                    <a:pt x="24" y="18"/>
                  </a:cubicBezTo>
                  <a:cubicBezTo>
                    <a:pt x="24" y="15"/>
                    <a:pt x="21" y="12"/>
                    <a:pt x="18" y="12"/>
                  </a:cubicBez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2" name="Oval 77">
              <a:extLst>
                <a:ext uri="{FF2B5EF4-FFF2-40B4-BE49-F238E27FC236}">
                  <a16:creationId xmlns:a16="http://schemas.microsoft.com/office/drawing/2014/main" id="{7D9C30E3-0574-4B59-8B52-94B6B5B78468}"/>
                </a:ext>
              </a:extLst>
            </p:cNvPr>
            <p:cNvSpPr>
              <a:spLocks noChangeArrowheads="1"/>
            </p:cNvSpPr>
            <p:nvPr/>
          </p:nvSpPr>
          <p:spPr bwMode="auto">
            <a:xfrm>
              <a:off x="3720" y="1983"/>
              <a:ext cx="35" cy="35"/>
            </a:xfrm>
            <a:prstGeom prst="ellipse">
              <a:avLst/>
            </a:pr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3" name="Oval 78">
              <a:extLst>
                <a:ext uri="{FF2B5EF4-FFF2-40B4-BE49-F238E27FC236}">
                  <a16:creationId xmlns:a16="http://schemas.microsoft.com/office/drawing/2014/main" id="{D04377D6-861C-4FBB-B63D-5D1719F8B5B2}"/>
                </a:ext>
              </a:extLst>
            </p:cNvPr>
            <p:cNvSpPr>
              <a:spLocks noChangeArrowheads="1"/>
            </p:cNvSpPr>
            <p:nvPr/>
          </p:nvSpPr>
          <p:spPr bwMode="auto">
            <a:xfrm>
              <a:off x="3666" y="1983"/>
              <a:ext cx="36" cy="35"/>
            </a:xfrm>
            <a:prstGeom prst="ellipse">
              <a:avLst/>
            </a:pr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4" name="Freeform 79">
              <a:extLst>
                <a:ext uri="{FF2B5EF4-FFF2-40B4-BE49-F238E27FC236}">
                  <a16:creationId xmlns:a16="http://schemas.microsoft.com/office/drawing/2014/main" id="{CF9836A0-4F6D-49BE-8260-FC14BDF37970}"/>
                </a:ext>
              </a:extLst>
            </p:cNvPr>
            <p:cNvSpPr>
              <a:spLocks noEditPoints="1"/>
            </p:cNvSpPr>
            <p:nvPr/>
          </p:nvSpPr>
          <p:spPr bwMode="auto">
            <a:xfrm>
              <a:off x="3533" y="2063"/>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1" y="24"/>
                    <a:pt x="24" y="21"/>
                    <a:pt x="24" y="18"/>
                  </a:cubicBezTo>
                  <a:cubicBezTo>
                    <a:pt x="24" y="15"/>
                    <a:pt x="21" y="12"/>
                    <a:pt x="18" y="12"/>
                  </a:cubicBezTo>
                  <a:close/>
                </a:path>
              </a:pathLst>
            </a:cu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5" name="Oval 80">
              <a:extLst>
                <a:ext uri="{FF2B5EF4-FFF2-40B4-BE49-F238E27FC236}">
                  <a16:creationId xmlns:a16="http://schemas.microsoft.com/office/drawing/2014/main" id="{BE307FFE-841B-4DCC-B81C-262604EC8015}"/>
                </a:ext>
              </a:extLst>
            </p:cNvPr>
            <p:cNvSpPr>
              <a:spLocks noChangeArrowheads="1"/>
            </p:cNvSpPr>
            <p:nvPr/>
          </p:nvSpPr>
          <p:spPr bwMode="auto">
            <a:xfrm>
              <a:off x="3720" y="2072"/>
              <a:ext cx="35" cy="35"/>
            </a:xfrm>
            <a:prstGeom prst="ellipse">
              <a:avLst/>
            </a:pr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sp>
          <p:nvSpPr>
            <p:cNvPr id="46" name="Oval 81">
              <a:extLst>
                <a:ext uri="{FF2B5EF4-FFF2-40B4-BE49-F238E27FC236}">
                  <a16:creationId xmlns:a16="http://schemas.microsoft.com/office/drawing/2014/main" id="{675816F9-FF4A-479A-985D-41C7048B75DC}"/>
                </a:ext>
              </a:extLst>
            </p:cNvPr>
            <p:cNvSpPr>
              <a:spLocks noChangeArrowheads="1"/>
            </p:cNvSpPr>
            <p:nvPr/>
          </p:nvSpPr>
          <p:spPr bwMode="auto">
            <a:xfrm>
              <a:off x="3666" y="2072"/>
              <a:ext cx="36" cy="35"/>
            </a:xfrm>
            <a:prstGeom prst="ellipse">
              <a:avLst/>
            </a:prstGeom>
            <a:grp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AU" kern="0">
                <a:solidFill>
                  <a:srgbClr val="96968C"/>
                </a:solidFill>
                <a:cs typeface="Arial" charset="0"/>
              </a:endParaRPr>
            </a:p>
          </p:txBody>
        </p:sp>
      </p:grpSp>
      <p:cxnSp>
        <p:nvCxnSpPr>
          <p:cNvPr id="48" name="Straight Connector 47">
            <a:extLst>
              <a:ext uri="{FF2B5EF4-FFF2-40B4-BE49-F238E27FC236}">
                <a16:creationId xmlns:a16="http://schemas.microsoft.com/office/drawing/2014/main" id="{B00729A3-4581-44AD-ABA7-302E0A85BA41}"/>
              </a:ext>
            </a:extLst>
          </p:cNvPr>
          <p:cNvCxnSpPr/>
          <p:nvPr/>
        </p:nvCxnSpPr>
        <p:spPr>
          <a:xfrm>
            <a:off x="3390473" y="2858173"/>
            <a:ext cx="0" cy="3017520"/>
          </a:xfrm>
          <a:prstGeom prst="line">
            <a:avLst/>
          </a:prstGeom>
          <a:ln w="952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657BC9-10DA-4FFD-B830-9C07D9453AEE}"/>
              </a:ext>
            </a:extLst>
          </p:cNvPr>
          <p:cNvCxnSpPr/>
          <p:nvPr/>
        </p:nvCxnSpPr>
        <p:spPr>
          <a:xfrm>
            <a:off x="9018999" y="2828104"/>
            <a:ext cx="0" cy="3017520"/>
          </a:xfrm>
          <a:prstGeom prst="line">
            <a:avLst/>
          </a:prstGeom>
          <a:ln w="952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AFD346A-5F91-448B-BD5D-7A6A8C2FF651}"/>
              </a:ext>
            </a:extLst>
          </p:cNvPr>
          <p:cNvCxnSpPr/>
          <p:nvPr/>
        </p:nvCxnSpPr>
        <p:spPr>
          <a:xfrm>
            <a:off x="6127575" y="2881373"/>
            <a:ext cx="0" cy="3017520"/>
          </a:xfrm>
          <a:prstGeom prst="line">
            <a:avLst/>
          </a:prstGeom>
          <a:ln w="952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945BAF7-7AC6-4F5C-916E-14D8225F1CDC}"/>
              </a:ext>
            </a:extLst>
          </p:cNvPr>
          <p:cNvSpPr/>
          <p:nvPr/>
        </p:nvSpPr>
        <p:spPr>
          <a:xfrm>
            <a:off x="667821" y="6028504"/>
            <a:ext cx="10943801" cy="65804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2400" b="1"/>
              <a:t>INDUSTRY-SPECIFIC SOLUTIONS</a:t>
            </a:r>
          </a:p>
        </p:txBody>
      </p:sp>
    </p:spTree>
    <p:extLst>
      <p:ext uri="{BB962C8B-B14F-4D97-AF65-F5344CB8AC3E}">
        <p14:creationId xmlns:p14="http://schemas.microsoft.com/office/powerpoint/2010/main" val="32672533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Recap</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endParaRPr lang="en-US"/>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latin typeface="Graphik" panose="020B0503030202060203" pitchFamily="34" charset="0"/>
              </a:rPr>
              <a:t>DTW can be used to measure two time series, even with different lengths, and can i</a:t>
            </a:r>
            <a:r>
              <a:rPr lang="en-US"/>
              <a:t>dentify which points correspond to one another in the two time series</a:t>
            </a:r>
          </a:p>
          <a:p>
            <a:r>
              <a:rPr lang="en-US">
                <a:latin typeface="Graphik" panose="020B0503030202060203" pitchFamily="34" charset="0"/>
              </a:rPr>
              <a:t>The </a:t>
            </a:r>
            <a:r>
              <a:rPr lang="en-US" err="1">
                <a:latin typeface="Graphik" panose="020B0503030202060203" pitchFamily="34" charset="0"/>
              </a:rPr>
              <a:t>Sakoe</a:t>
            </a:r>
            <a:r>
              <a:rPr lang="en-US">
                <a:latin typeface="Graphik" panose="020B0503030202060203" pitchFamily="34" charset="0"/>
              </a:rPr>
              <a:t>-Chiba band is defined through a radius parameter which determines the largest temporal shift allowed from the diagonal in the direction of the longest time series</a:t>
            </a:r>
          </a:p>
          <a:p>
            <a:r>
              <a:rPr lang="en-US">
                <a:latin typeface="Graphik" panose="020B0503030202060203" pitchFamily="34" charset="0"/>
              </a:rPr>
              <a:t>Both DTW and DTW with </a:t>
            </a:r>
            <a:r>
              <a:rPr lang="en-US" err="1">
                <a:latin typeface="Graphik" panose="020B0503030202060203" pitchFamily="34" charset="0"/>
              </a:rPr>
              <a:t>Sakoe</a:t>
            </a:r>
            <a:r>
              <a:rPr lang="en-US">
                <a:latin typeface="Graphik" panose="020B0503030202060203" pitchFamily="34" charset="0"/>
              </a:rPr>
              <a:t>-Chiba are polynomial time O(N</a:t>
            </a:r>
            <a:r>
              <a:rPr lang="en-US" baseline="30000">
                <a:latin typeface="Graphik" panose="020B0503030202060203" pitchFamily="34" charset="0"/>
              </a:rPr>
              <a:t>2</a:t>
            </a:r>
            <a:r>
              <a:rPr lang="en-US">
                <a:latin typeface="Graphik" panose="020B0503030202060203" pitchFamily="34" charset="0"/>
              </a:rPr>
              <a:t>) algorithms</a:t>
            </a:r>
          </a:p>
          <a:p>
            <a:r>
              <a:rPr lang="en-US">
                <a:latin typeface="Graphik" panose="020B0503030202060203" pitchFamily="34" charset="0"/>
              </a:rPr>
              <a:t>Fast DTW is an approximation of DTW that has a linear time O(N) and space complexity with 3 key operations: coarsening, projection, and refinement</a:t>
            </a:r>
          </a:p>
          <a:p>
            <a:r>
              <a:rPr lang="en-US"/>
              <a:t>Fast DTW generally runs faster than DTW, but slower than and not as accurate as DTW with </a:t>
            </a:r>
            <a:r>
              <a:rPr lang="en-US" err="1"/>
              <a:t>Sakoe</a:t>
            </a:r>
            <a:r>
              <a:rPr lang="en-US"/>
              <a:t>-Chiba band with the same radius</a:t>
            </a:r>
          </a:p>
          <a:p>
            <a:endParaRPr lang="en-US">
              <a:latin typeface="Graphik" panose="020B0503030202060203" pitchFamily="34" charset="0"/>
            </a:endParaRP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40</a:t>
            </a:fld>
            <a:endParaRPr lang="en-US"/>
          </a:p>
        </p:txBody>
      </p:sp>
    </p:spTree>
    <p:extLst>
      <p:ext uri="{BB962C8B-B14F-4D97-AF65-F5344CB8AC3E}">
        <p14:creationId xmlns:p14="http://schemas.microsoft.com/office/powerpoint/2010/main" val="19265874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185245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a:extLst>
              <a:ext uri="{FF2B5EF4-FFF2-40B4-BE49-F238E27FC236}">
                <a16:creationId xmlns:a16="http://schemas.microsoft.com/office/drawing/2014/main" id="{9BB2BFD5-EB05-41FF-8D72-6E12C9FAB4C6}"/>
              </a:ext>
            </a:extLst>
          </p:cNvPr>
          <p:cNvSpPr>
            <a:spLocks noGrp="1"/>
          </p:cNvSpPr>
          <p:nvPr>
            <p:ph type="title"/>
          </p:nvPr>
        </p:nvSpPr>
        <p:spPr>
          <a:xfrm>
            <a:off x="640080" y="5576887"/>
            <a:ext cx="10911840" cy="640081"/>
          </a:xfrm>
        </p:spPr>
        <p:txBody>
          <a:bodyPr vert="horz" lIns="91440" tIns="45720" rIns="91440" bIns="45720" rtlCol="0" anchor="ctr">
            <a:normAutofit/>
          </a:bodyPr>
          <a:lstStyle/>
          <a:p>
            <a:pPr algn="ctr"/>
            <a:r>
              <a:rPr lang="en-US" sz="3200" b="1"/>
              <a:t>Accenture Semarang</a:t>
            </a:r>
          </a:p>
        </p:txBody>
      </p:sp>
      <p:pic>
        <p:nvPicPr>
          <p:cNvPr id="4" name="Picture Placeholder 3">
            <a:hlinkClick r:id="rId2"/>
            <a:extLst>
              <a:ext uri="{FF2B5EF4-FFF2-40B4-BE49-F238E27FC236}">
                <a16:creationId xmlns:a16="http://schemas.microsoft.com/office/drawing/2014/main" id="{3908758A-DD30-4294-B815-A7C836FC636A}"/>
              </a:ext>
            </a:extLst>
          </p:cNvPr>
          <p:cNvPicPr>
            <a:picLocks noGrp="1" noChangeAspect="1"/>
          </p:cNvPicPr>
          <p:nvPr>
            <p:ph type="pic" sz="quarter" idx="13"/>
          </p:nvPr>
        </p:nvPicPr>
        <p:blipFill rotWithShape="1">
          <a:blip r:embed="rId3"/>
          <a:srcRect t="9998" r="1" b="1"/>
          <a:stretch/>
        </p:blipFill>
        <p:spPr>
          <a:xfrm>
            <a:off x="640080" y="640080"/>
            <a:ext cx="10911840" cy="4836795"/>
          </a:xfrm>
          <a:prstGeom prst="rect">
            <a:avLst/>
          </a:prstGeom>
          <a:ln w="19050">
            <a:solidFill>
              <a:schemeClr val="tx1"/>
            </a:solidFill>
            <a:miter lim="800000"/>
          </a:ln>
        </p:spPr>
      </p:pic>
    </p:spTree>
    <p:extLst>
      <p:ext uri="{BB962C8B-B14F-4D97-AF65-F5344CB8AC3E}">
        <p14:creationId xmlns:p14="http://schemas.microsoft.com/office/powerpoint/2010/main" val="29810253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CE690-C5E5-41D6-93D5-BE491FCCBD79}"/>
              </a:ext>
            </a:extLst>
          </p:cNvPr>
          <p:cNvSpPr>
            <a:spLocks noGrp="1"/>
          </p:cNvSpPr>
          <p:nvPr>
            <p:ph type="title"/>
          </p:nvPr>
        </p:nvSpPr>
        <p:spPr/>
        <p:txBody>
          <a:bodyPr/>
          <a:lstStyle/>
          <a:p>
            <a:r>
              <a:rPr lang="en-US"/>
              <a:t>Recruitment matters</a:t>
            </a:r>
          </a:p>
        </p:txBody>
      </p:sp>
      <p:sp>
        <p:nvSpPr>
          <p:cNvPr id="3" name="Content Placeholder 2">
            <a:extLst>
              <a:ext uri="{FF2B5EF4-FFF2-40B4-BE49-F238E27FC236}">
                <a16:creationId xmlns:a16="http://schemas.microsoft.com/office/drawing/2014/main" id="{143B2EF5-A511-49D1-90A8-ACE6783E9BA0}"/>
              </a:ext>
            </a:extLst>
          </p:cNvPr>
          <p:cNvSpPr>
            <a:spLocks noGrp="1"/>
          </p:cNvSpPr>
          <p:nvPr>
            <p:ph sz="quarter" idx="10"/>
          </p:nvPr>
        </p:nvSpPr>
        <p:spPr/>
        <p:txBody>
          <a:bodyPr vert="horz" lIns="0" tIns="0" rIns="0" bIns="0" rtlCol="0" anchor="t">
            <a:noAutofit/>
          </a:bodyPr>
          <a:lstStyle/>
          <a:p>
            <a:r>
              <a:rPr lang="en-US" sz="2400" b="1">
                <a:solidFill>
                  <a:schemeClr val="bg2">
                    <a:lumMod val="10000"/>
                  </a:schemeClr>
                </a:solidFill>
              </a:rPr>
              <a:t>Graduate career portals:</a:t>
            </a:r>
          </a:p>
          <a:p>
            <a:pPr lvl="1"/>
            <a:r>
              <a:rPr lang="en-US">
                <a:solidFill>
                  <a:schemeClr val="bg2">
                    <a:lumMod val="10000"/>
                  </a:schemeClr>
                </a:solidFill>
                <a:hlinkClick r:id="rId2"/>
              </a:rPr>
              <a:t>https://www.accenture.com/id-en/careers</a:t>
            </a:r>
            <a:endParaRPr lang="en-US">
              <a:solidFill>
                <a:schemeClr val="bg2">
                  <a:lumMod val="10000"/>
                </a:schemeClr>
              </a:solidFill>
            </a:endParaRPr>
          </a:p>
          <a:p>
            <a:pPr lvl="1"/>
            <a:r>
              <a:rPr lang="en-US">
                <a:solidFill>
                  <a:schemeClr val="bg2">
                    <a:lumMod val="10000"/>
                  </a:schemeClr>
                </a:solidFill>
                <a:hlinkClick r:id="rId3"/>
              </a:rPr>
              <a:t>https://www.accenture.com/id-en/careers/life-at-accenture/entry-level</a:t>
            </a:r>
            <a:endParaRPr lang="en-US">
              <a:solidFill>
                <a:schemeClr val="bg2">
                  <a:lumMod val="10000"/>
                </a:schemeClr>
              </a:solidFill>
            </a:endParaRPr>
          </a:p>
          <a:p>
            <a:pPr lvl="1"/>
            <a:r>
              <a:rPr lang="en-US">
                <a:solidFill>
                  <a:schemeClr val="bg2">
                    <a:lumMod val="10000"/>
                  </a:schemeClr>
                </a:solidFill>
                <a:hlinkClick r:id="rId4"/>
              </a:rPr>
              <a:t>https://www.accenture.com/id-en/careers/life-at-accenture/internships-careers</a:t>
            </a:r>
            <a:endParaRPr lang="en-US">
              <a:solidFill>
                <a:schemeClr val="bg2">
                  <a:lumMod val="10000"/>
                </a:schemeClr>
              </a:solidFill>
            </a:endParaRPr>
          </a:p>
          <a:p>
            <a:pPr marL="0" lvl="1" indent="0">
              <a:buNone/>
            </a:pPr>
            <a:endParaRPr lang="en-US" b="1">
              <a:ea typeface="+mn-lt"/>
              <a:cs typeface="+mn-lt"/>
            </a:endParaRPr>
          </a:p>
          <a:p>
            <a:pPr marL="0" lvl="1" indent="0">
              <a:buNone/>
            </a:pPr>
            <a:r>
              <a:rPr lang="en-US" b="1">
                <a:ea typeface="+mn-lt"/>
                <a:cs typeface="+mn-lt"/>
              </a:rPr>
              <a:t>Campus recruiter (based in Jakarta):</a:t>
            </a:r>
            <a:endParaRPr lang="en-US">
              <a:cs typeface="Arial"/>
            </a:endParaRPr>
          </a:p>
          <a:p>
            <a:pPr lvl="1">
              <a:buNone/>
            </a:pPr>
            <a:r>
              <a:rPr lang="en-US">
                <a:ea typeface="+mn-lt"/>
                <a:cs typeface="+mn-lt"/>
              </a:rPr>
              <a:t>Nada R </a:t>
            </a:r>
            <a:r>
              <a:rPr lang="en-US" err="1">
                <a:ea typeface="+mn-lt"/>
                <a:cs typeface="+mn-lt"/>
              </a:rPr>
              <a:t>Lusarda</a:t>
            </a:r>
            <a:r>
              <a:rPr lang="en-US">
                <a:ea typeface="+mn-lt"/>
                <a:cs typeface="+mn-lt"/>
              </a:rPr>
              <a:t> – </a:t>
            </a:r>
            <a:r>
              <a:rPr lang="en-US">
                <a:ea typeface="+mn-lt"/>
                <a:cs typeface="+mn-lt"/>
                <a:hlinkClick r:id="rId5">
                  <a:extLst>
                    <a:ext uri="{A12FA001-AC4F-418D-AE19-62706E023703}">
                      <ahyp:hlinkClr xmlns:ahyp="http://schemas.microsoft.com/office/drawing/2018/hyperlinkcolor" val="tx"/>
                    </a:ext>
                  </a:extLst>
                </a:hlinkClick>
              </a:rPr>
              <a:t>nada.r.lusarda@accenture.com</a:t>
            </a:r>
            <a:r>
              <a:rPr lang="en-US">
                <a:ea typeface="+mn-lt"/>
                <a:cs typeface="+mn-lt"/>
              </a:rPr>
              <a:t> </a:t>
            </a:r>
            <a:endParaRPr lang="en-US"/>
          </a:p>
          <a:p>
            <a:pPr lvl="1">
              <a:buNone/>
            </a:pPr>
            <a:endParaRPr lang="en-US">
              <a:cs typeface="Arial"/>
            </a:endParaRPr>
          </a:p>
          <a:p>
            <a:pPr lvl="1">
              <a:buNone/>
            </a:pPr>
            <a:r>
              <a:rPr lang="en-US" b="1">
                <a:ea typeface="+mn-lt"/>
                <a:cs typeface="+mn-lt"/>
              </a:rPr>
              <a:t>ATC Semarang Recruiter (based in Philippine):</a:t>
            </a:r>
            <a:endParaRPr lang="en-US"/>
          </a:p>
          <a:p>
            <a:pPr lvl="1">
              <a:buNone/>
            </a:pPr>
            <a:r>
              <a:rPr lang="en-US">
                <a:ea typeface="+mn-lt"/>
                <a:cs typeface="+mn-lt"/>
              </a:rPr>
              <a:t>Gelo Alejandro - </a:t>
            </a:r>
            <a:r>
              <a:rPr lang="en-US">
                <a:ea typeface="+mn-lt"/>
                <a:cs typeface="+mn-lt"/>
                <a:hlinkClick r:id="rId6"/>
              </a:rPr>
              <a:t>michael.a.alejandro@accenture.com</a:t>
            </a:r>
            <a:r>
              <a:rPr lang="en-US">
                <a:ea typeface="+mn-lt"/>
                <a:cs typeface="+mn-lt"/>
              </a:rPr>
              <a:t> </a:t>
            </a:r>
            <a:endParaRPr lang="en-US"/>
          </a:p>
          <a:p>
            <a:pPr marL="225425" lvl="1"/>
            <a:endParaRPr lang="en-US">
              <a:solidFill>
                <a:schemeClr val="bg2">
                  <a:lumMod val="10000"/>
                </a:schemeClr>
              </a:solidFill>
              <a:cs typeface="Arial"/>
            </a:endParaRPr>
          </a:p>
        </p:txBody>
      </p:sp>
    </p:spTree>
    <p:extLst>
      <p:ext uri="{BB962C8B-B14F-4D97-AF65-F5344CB8AC3E}">
        <p14:creationId xmlns:p14="http://schemas.microsoft.com/office/powerpoint/2010/main" val="3307139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About Speaker</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Poerwiyanto</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a:xfrm>
            <a:off x="381001" y="1949194"/>
            <a:ext cx="8074741" cy="4362706"/>
          </a:xfrm>
        </p:spPr>
        <p:txBody>
          <a:bodyPr/>
          <a:lstStyle/>
          <a:p>
            <a:pPr marL="0" indent="0">
              <a:buNone/>
            </a:pPr>
            <a:r>
              <a:rPr lang="en-US">
                <a:latin typeface="Graphik" panose="020B0503030202060203" pitchFamily="34" charset="0"/>
              </a:rPr>
              <a:t>5 years of experience in natural language understanding and time series forecasting. Has involved in several projects, notably conversational bot and intelligent data quality management for one of the largest telecommunication company in Indonesia</a:t>
            </a:r>
          </a:p>
          <a:p>
            <a:pPr marL="0" indent="0">
              <a:buNone/>
            </a:pPr>
            <a:r>
              <a:rPr lang="en-US" b="1">
                <a:latin typeface="Graphik" panose="020B0503030202060203" pitchFamily="34" charset="0"/>
              </a:rPr>
              <a:t>Accenture Career</a:t>
            </a:r>
            <a:endParaRPr lang="en-US">
              <a:latin typeface="Graphik" panose="020B0503030202060203" pitchFamily="34" charset="0"/>
            </a:endParaRPr>
          </a:p>
          <a:p>
            <a:pPr marL="342900" indent="-342900">
              <a:buFont typeface="Arial" panose="020B0604020202020204" pitchFamily="34" charset="0"/>
              <a:buChar char="•"/>
            </a:pPr>
            <a:r>
              <a:rPr lang="en-US">
                <a:latin typeface="Graphik" panose="020B0503030202060203" pitchFamily="34" charset="0"/>
              </a:rPr>
              <a:t>Joined Accenture as Business &amp; Integration Arch. Analyst in May 2017</a:t>
            </a:r>
          </a:p>
          <a:p>
            <a:pPr marL="342900" indent="-342900">
              <a:buFont typeface="Arial" panose="020B0604020202020204" pitchFamily="34" charset="0"/>
              <a:buChar char="•"/>
            </a:pPr>
            <a:r>
              <a:rPr lang="en-US">
                <a:latin typeface="Graphik" panose="020B0503030202060203" pitchFamily="34" charset="0"/>
              </a:rPr>
              <a:t>Data Scientist at Applied Intelligence Indonesia since 2020</a:t>
            </a:r>
          </a:p>
          <a:p>
            <a:r>
              <a:rPr lang="en-US" b="1">
                <a:latin typeface="Graphik" panose="020B0503030202060203" pitchFamily="34" charset="0"/>
              </a:rPr>
              <a:t>Education</a:t>
            </a:r>
            <a:endParaRPr lang="en-US">
              <a:latin typeface="Graphik" panose="020B0503030202060203" pitchFamily="34" charset="0"/>
            </a:endParaRPr>
          </a:p>
          <a:p>
            <a:pPr marL="342900" indent="-342900">
              <a:buFont typeface="Arial" panose="020B0604020202020204" pitchFamily="34" charset="0"/>
              <a:buChar char="•"/>
            </a:pPr>
            <a:r>
              <a:rPr lang="en-US">
                <a:latin typeface="Graphik" panose="020B0503030202060203" pitchFamily="34" charset="0"/>
              </a:rPr>
              <a:t>Universitas Gadjah </a:t>
            </a:r>
            <a:r>
              <a:rPr lang="en-US" err="1">
                <a:latin typeface="Graphik" panose="020B0503030202060203" pitchFamily="34" charset="0"/>
              </a:rPr>
              <a:t>Mada</a:t>
            </a:r>
            <a:r>
              <a:rPr lang="en-US">
                <a:latin typeface="Graphik" panose="020B0503030202060203" pitchFamily="34" charset="0"/>
              </a:rPr>
              <a:t> – Master of Computer Science (M.Cs.)</a:t>
            </a:r>
          </a:p>
          <a:p>
            <a:pPr marL="342900" indent="-342900">
              <a:buFont typeface="Arial" panose="020B0604020202020204" pitchFamily="34" charset="0"/>
              <a:buChar char="•"/>
            </a:pPr>
            <a:r>
              <a:rPr lang="en-US">
                <a:latin typeface="Graphik" panose="020B0503030202060203" pitchFamily="34" charset="0"/>
              </a:rPr>
              <a:t>Universitas Gadjah </a:t>
            </a:r>
            <a:r>
              <a:rPr lang="en-US" err="1">
                <a:latin typeface="Graphik" panose="020B0503030202060203" pitchFamily="34" charset="0"/>
              </a:rPr>
              <a:t>Mada</a:t>
            </a:r>
            <a:r>
              <a:rPr lang="en-US">
                <a:latin typeface="Graphik" panose="020B0503030202060203" pitchFamily="34" charset="0"/>
              </a:rPr>
              <a:t> – </a:t>
            </a:r>
            <a:r>
              <a:rPr lang="en-US" err="1">
                <a:latin typeface="Graphik" panose="020B0503030202060203" pitchFamily="34" charset="0"/>
              </a:rPr>
              <a:t>Sarjana</a:t>
            </a:r>
            <a:r>
              <a:rPr lang="en-US">
                <a:latin typeface="Graphik" panose="020B0503030202060203" pitchFamily="34" charset="0"/>
              </a:rPr>
              <a:t> </a:t>
            </a:r>
            <a:r>
              <a:rPr lang="en-US" err="1">
                <a:latin typeface="Graphik" panose="020B0503030202060203" pitchFamily="34" charset="0"/>
              </a:rPr>
              <a:t>Ilmu</a:t>
            </a:r>
            <a:r>
              <a:rPr lang="en-US">
                <a:latin typeface="Graphik" panose="020B0503030202060203" pitchFamily="34" charset="0"/>
              </a:rPr>
              <a:t> </a:t>
            </a:r>
            <a:r>
              <a:rPr lang="en-US" err="1">
                <a:latin typeface="Graphik" panose="020B0503030202060203" pitchFamily="34" charset="0"/>
              </a:rPr>
              <a:t>Komputer</a:t>
            </a:r>
            <a:r>
              <a:rPr lang="en-US">
                <a:latin typeface="Graphik" panose="020B0503030202060203" pitchFamily="34" charset="0"/>
              </a:rPr>
              <a:t> (</a:t>
            </a:r>
            <a:r>
              <a:rPr lang="en-US" err="1">
                <a:latin typeface="Graphik" panose="020B0503030202060203" pitchFamily="34" charset="0"/>
              </a:rPr>
              <a:t>S.Kom</a:t>
            </a:r>
            <a:r>
              <a:rPr lang="en-US">
                <a:latin typeface="Graphik" panose="020B0503030202060203" pitchFamily="34" charset="0"/>
              </a:rPr>
              <a:t>.)</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7</a:t>
            </a:fld>
            <a:endParaRPr lang="en-US"/>
          </a:p>
        </p:txBody>
      </p:sp>
      <p:pic>
        <p:nvPicPr>
          <p:cNvPr id="7" name="Picture 6" descr="A person in a suit&#10;&#10;Description automatically generated with low confidence">
            <a:extLst>
              <a:ext uri="{FF2B5EF4-FFF2-40B4-BE49-F238E27FC236}">
                <a16:creationId xmlns:a16="http://schemas.microsoft.com/office/drawing/2014/main" id="{6D23E2CC-00CB-4FF4-90C9-92B877F3870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322"/>
          <a:stretch/>
        </p:blipFill>
        <p:spPr>
          <a:xfrm>
            <a:off x="8455742" y="1610547"/>
            <a:ext cx="2520000" cy="2520000"/>
          </a:xfrm>
          <a:prstGeom prst="ellipse">
            <a:avLst/>
          </a:prstGeom>
        </p:spPr>
      </p:pic>
    </p:spTree>
    <p:extLst>
      <p:ext uri="{BB962C8B-B14F-4D97-AF65-F5344CB8AC3E}">
        <p14:creationId xmlns:p14="http://schemas.microsoft.com/office/powerpoint/2010/main" val="10991489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2FC18-32C4-4C31-95F9-1B65B1F63539}"/>
              </a:ext>
            </a:extLst>
          </p:cNvPr>
          <p:cNvSpPr>
            <a:spLocks noGrp="1"/>
          </p:cNvSpPr>
          <p:nvPr>
            <p:ph type="title"/>
          </p:nvPr>
        </p:nvSpPr>
        <p:spPr/>
        <p:txBody>
          <a:bodyPr/>
          <a:lstStyle/>
          <a:p>
            <a:r>
              <a:rPr lang="en-GB"/>
              <a:t>Introduction to Dynamic Programming</a:t>
            </a:r>
            <a:endParaRPr lang="en-US"/>
          </a:p>
        </p:txBody>
      </p:sp>
      <p:sp>
        <p:nvSpPr>
          <p:cNvPr id="2" name="Text Placeholder 1">
            <a:extLst>
              <a:ext uri="{FF2B5EF4-FFF2-40B4-BE49-F238E27FC236}">
                <a16:creationId xmlns:a16="http://schemas.microsoft.com/office/drawing/2014/main" id="{D80B193A-C392-4007-B83A-2FCA7F238D20}"/>
              </a:ext>
            </a:extLst>
          </p:cNvPr>
          <p:cNvSpPr>
            <a:spLocks noGrp="1"/>
          </p:cNvSpPr>
          <p:nvPr>
            <p:ph type="body" sz="quarter" idx="16"/>
          </p:nvPr>
        </p:nvSpPr>
        <p:spPr/>
        <p:txBody>
          <a:bodyPr/>
          <a:lstStyle/>
          <a:p>
            <a:r>
              <a:rPr lang="en-US"/>
              <a:t>Solving Fibonacci Numbers</a:t>
            </a:r>
          </a:p>
        </p:txBody>
      </p:sp>
      <p:sp>
        <p:nvSpPr>
          <p:cNvPr id="7" name="Picture Placeholder 6" descr="Drag picture to placeholder">
            <a:extLst>
              <a:ext uri="{FF2B5EF4-FFF2-40B4-BE49-F238E27FC236}">
                <a16:creationId xmlns:a16="http://schemas.microsoft.com/office/drawing/2014/main" id="{A9B3A3EC-A074-4884-A9F7-E7FD963574C7}"/>
              </a:ext>
            </a:extLst>
          </p:cNvPr>
          <p:cNvSpPr>
            <a:spLocks noGrp="1"/>
          </p:cNvSpPr>
          <p:nvPr>
            <p:ph type="pic" sz="quarter" idx="13"/>
          </p:nvPr>
        </p:nvSpPr>
        <p:spPr/>
      </p:sp>
      <p:sp>
        <p:nvSpPr>
          <p:cNvPr id="3" name="Footer Placeholder 2">
            <a:extLst>
              <a:ext uri="{FF2B5EF4-FFF2-40B4-BE49-F238E27FC236}">
                <a16:creationId xmlns:a16="http://schemas.microsoft.com/office/drawing/2014/main" id="{B8D95FB7-4700-4E03-BBDB-C5FC6AEFC316}"/>
              </a:ext>
            </a:extLst>
          </p:cNvPr>
          <p:cNvSpPr>
            <a:spLocks noGrp="1"/>
          </p:cNvSpPr>
          <p:nvPr>
            <p:ph type="ftr" sz="quarter" idx="18"/>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FFFFFF">
                    <a:alpha val="75000"/>
                  </a:srgbClr>
                </a:solidFill>
                <a:effectLst/>
                <a:uLnTx/>
                <a:uFillTx/>
                <a:latin typeface="Graphik"/>
                <a:ea typeface="+mn-ea"/>
                <a:cs typeface="+mn-cs"/>
              </a:rPr>
              <a:t>Copyright © 2021 Accenture. All rights reserved.</a:t>
            </a:r>
          </a:p>
        </p:txBody>
      </p:sp>
      <p:sp>
        <p:nvSpPr>
          <p:cNvPr id="5" name="Slide Number Placeholder 4">
            <a:extLst>
              <a:ext uri="{FF2B5EF4-FFF2-40B4-BE49-F238E27FC236}">
                <a16:creationId xmlns:a16="http://schemas.microsoft.com/office/drawing/2014/main" id="{8BAC3EDF-7D22-4BBE-8347-4B8BDA4D5E26}"/>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FFFFFF"/>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Graphik"/>
              <a:ea typeface="+mn-ea"/>
              <a:cs typeface="+mn-cs"/>
            </a:endParaRPr>
          </a:p>
        </p:txBody>
      </p:sp>
    </p:spTree>
    <p:extLst>
      <p:ext uri="{BB962C8B-B14F-4D97-AF65-F5344CB8AC3E}">
        <p14:creationId xmlns:p14="http://schemas.microsoft.com/office/powerpoint/2010/main" val="697860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8A4E0-63A1-4567-B6F2-13D91D4BDB14}"/>
              </a:ext>
            </a:extLst>
          </p:cNvPr>
          <p:cNvSpPr>
            <a:spLocks noGrp="1"/>
          </p:cNvSpPr>
          <p:nvPr>
            <p:ph type="title"/>
          </p:nvPr>
        </p:nvSpPr>
        <p:spPr/>
        <p:txBody>
          <a:bodyPr/>
          <a:lstStyle/>
          <a:p>
            <a:r>
              <a:rPr lang="en-US"/>
              <a:t>Dynamic Programming (DP)</a:t>
            </a:r>
          </a:p>
        </p:txBody>
      </p:sp>
      <p:sp>
        <p:nvSpPr>
          <p:cNvPr id="4" name="Text Placeholder 3">
            <a:extLst>
              <a:ext uri="{FF2B5EF4-FFF2-40B4-BE49-F238E27FC236}">
                <a16:creationId xmlns:a16="http://schemas.microsoft.com/office/drawing/2014/main" id="{B3122300-58C0-4AD1-A120-CA2E3F403A9C}"/>
              </a:ext>
            </a:extLst>
          </p:cNvPr>
          <p:cNvSpPr>
            <a:spLocks noGrp="1"/>
          </p:cNvSpPr>
          <p:nvPr>
            <p:ph type="body" sz="quarter" idx="11"/>
          </p:nvPr>
        </p:nvSpPr>
        <p:spPr>
          <a:xfrm>
            <a:off x="381000" y="1234994"/>
            <a:ext cx="11430000" cy="384048"/>
          </a:xfrm>
        </p:spPr>
        <p:txBody>
          <a:bodyPr/>
          <a:lstStyle/>
          <a:p>
            <a:r>
              <a:rPr lang="en-US"/>
              <a:t>Introduction</a:t>
            </a:r>
          </a:p>
        </p:txBody>
      </p:sp>
      <p:sp>
        <p:nvSpPr>
          <p:cNvPr id="3" name="Content Placeholder 2">
            <a:extLst>
              <a:ext uri="{FF2B5EF4-FFF2-40B4-BE49-F238E27FC236}">
                <a16:creationId xmlns:a16="http://schemas.microsoft.com/office/drawing/2014/main" id="{D28A6797-48C6-4420-B292-163D7C7B7802}"/>
              </a:ext>
            </a:extLst>
          </p:cNvPr>
          <p:cNvSpPr>
            <a:spLocks noGrp="1"/>
          </p:cNvSpPr>
          <p:nvPr>
            <p:ph sz="quarter" idx="10"/>
          </p:nvPr>
        </p:nvSpPr>
        <p:spPr/>
        <p:txBody>
          <a:bodyPr/>
          <a:lstStyle/>
          <a:p>
            <a:r>
              <a:rPr lang="en-US"/>
              <a:t>A technique for solving problems with overlapping subproblems, breaking down a problem into simpler subproblems</a:t>
            </a:r>
          </a:p>
          <a:p>
            <a:r>
              <a:rPr lang="en-US"/>
              <a:t>Utilizing the fact that the solution of the overall problem depends upon the solutions to its smaller subproblems</a:t>
            </a:r>
          </a:p>
          <a:p>
            <a:r>
              <a:rPr lang="en-US"/>
              <a:t>Rather than solving overlapping subproblems again and again, DP suggests solving each of the smaller subproblems only once and recording the results which can then be used to solve the overall problem</a:t>
            </a:r>
          </a:p>
        </p:txBody>
      </p:sp>
      <p:sp>
        <p:nvSpPr>
          <p:cNvPr id="5" name="Footer Placeholder 4">
            <a:extLst>
              <a:ext uri="{FF2B5EF4-FFF2-40B4-BE49-F238E27FC236}">
                <a16:creationId xmlns:a16="http://schemas.microsoft.com/office/drawing/2014/main" id="{B5E4A0FD-8646-4C56-B5DE-AA8890691A82}"/>
              </a:ext>
            </a:extLst>
          </p:cNvPr>
          <p:cNvSpPr>
            <a:spLocks noGrp="1"/>
          </p:cNvSpPr>
          <p:nvPr>
            <p:ph type="ftr" sz="quarter" idx="3"/>
          </p:nvPr>
        </p:nvSpPr>
        <p:spPr/>
        <p:txBody>
          <a:bodyPr/>
          <a:lstStyle/>
          <a:p>
            <a:pPr algn="r" defTabSz="228600">
              <a:spcAft>
                <a:spcPts val="1200"/>
              </a:spcAft>
              <a:defRPr/>
            </a:pPr>
            <a:r>
              <a:rPr lang="en-GB"/>
              <a:t>Copyright © 2021 Accenture. All rights reserved.</a:t>
            </a:r>
          </a:p>
        </p:txBody>
      </p:sp>
      <p:sp>
        <p:nvSpPr>
          <p:cNvPr id="6" name="Slide Number Placeholder 5">
            <a:extLst>
              <a:ext uri="{FF2B5EF4-FFF2-40B4-BE49-F238E27FC236}">
                <a16:creationId xmlns:a16="http://schemas.microsoft.com/office/drawing/2014/main" id="{D2D55B86-5413-41E1-B92A-FA9387F4171C}"/>
              </a:ext>
            </a:extLst>
          </p:cNvPr>
          <p:cNvSpPr>
            <a:spLocks noGrp="1"/>
          </p:cNvSpPr>
          <p:nvPr>
            <p:ph type="sldNum" sz="quarter" idx="12"/>
          </p:nvPr>
        </p:nvSpPr>
        <p:spPr/>
        <p:txBody>
          <a:bodyPr/>
          <a:lstStyle/>
          <a:p>
            <a:fld id="{1F90F471-3972-4120-B8B3-0237DE626C35}" type="slidenum">
              <a:rPr lang="en-US" smtClean="0"/>
              <a:pPr/>
              <a:t>9</a:t>
            </a:fld>
            <a:endParaRPr lang="en-US"/>
          </a:p>
        </p:txBody>
      </p:sp>
    </p:spTree>
    <p:extLst>
      <p:ext uri="{BB962C8B-B14F-4D97-AF65-F5344CB8AC3E}">
        <p14:creationId xmlns:p14="http://schemas.microsoft.com/office/powerpoint/2010/main" val="57781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2.xml><?xml version="1.0" encoding="utf-8"?>
<a:theme xmlns:a="http://schemas.openxmlformats.org/drawingml/2006/main" name="1_Office Them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Arial_100820" id="{92B41B09-D841-FF46-8F54-F645EB457235}" vid="{2C432D66-A113-5A47-BBE5-F334B0BCDB2B}"/>
    </a:ext>
  </a:extLst>
</a:theme>
</file>

<file path=ppt/theme/theme3.xml><?xml version="1.0" encoding="utf-8"?>
<a:theme xmlns:a="http://schemas.openxmlformats.org/drawingml/2006/main" name="1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124</Words>
  <Application>Microsoft Office PowerPoint</Application>
  <PresentationFormat>Widescreen</PresentationFormat>
  <Paragraphs>2310</Paragraphs>
  <Slides>41</Slides>
  <Notes>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57" baseType="lpstr">
      <vt:lpstr>apple color emoji</vt:lpstr>
      <vt:lpstr>Arial</vt:lpstr>
      <vt:lpstr>Arial Black</vt:lpstr>
      <vt:lpstr>Calibri</vt:lpstr>
      <vt:lpstr>Cambria Math</vt:lpstr>
      <vt:lpstr>Graphik</vt:lpstr>
      <vt:lpstr>Graphik Semibold</vt:lpstr>
      <vt:lpstr>GT Sectra Fine</vt:lpstr>
      <vt:lpstr>GT Sectra Fine Rg</vt:lpstr>
      <vt:lpstr>helvetica neue</vt:lpstr>
      <vt:lpstr>Palatino Linotype</vt:lpstr>
      <vt:lpstr>System Font</vt:lpstr>
      <vt:lpstr>Accenture 2020</vt:lpstr>
      <vt:lpstr>1_Office Theme</vt:lpstr>
      <vt:lpstr>1_Accenture 2020</vt:lpstr>
      <vt:lpstr>think-cell Slide</vt:lpstr>
      <vt:lpstr>Dynamic Programming in AI</vt:lpstr>
      <vt:lpstr>About ACCENTURE</vt:lpstr>
      <vt:lpstr>Accenture is a global professional services company with leading capabilities in digital, cloud and security</vt:lpstr>
      <vt:lpstr>We provide a broad range of services at scale- from strategy to operations.</vt:lpstr>
      <vt:lpstr>Accenture Semarang</vt:lpstr>
      <vt:lpstr>Recruitment matters</vt:lpstr>
      <vt:lpstr>About Speaker</vt:lpstr>
      <vt:lpstr>Introduction to Dynamic Programming</vt:lpstr>
      <vt:lpstr>Dynamic Programming (DP)</vt:lpstr>
      <vt:lpstr>Fibonacci Numbers</vt:lpstr>
      <vt:lpstr>Fibonacci Numbers</vt:lpstr>
      <vt:lpstr>Fibonacci Numbers</vt:lpstr>
      <vt:lpstr>Dynamic Time Warping</vt:lpstr>
      <vt:lpstr>Time Series is Almost Everywhere!</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Dynamic Time Warping (DTW)</vt:lpstr>
      <vt:lpstr>The Sakoe-Chiba Band</vt:lpstr>
      <vt:lpstr>DTW with Sakoe-Chiba Band</vt:lpstr>
      <vt:lpstr>DTW vs DTW with Sakoe-Chiba Band</vt:lpstr>
      <vt:lpstr>DTW with Sakoe-Chiba Band</vt:lpstr>
      <vt:lpstr>Fast DTW</vt:lpstr>
      <vt:lpstr>Fast DTW</vt:lpstr>
      <vt:lpstr>Fast DTW</vt:lpstr>
      <vt:lpstr>Expanding Resolution Window</vt:lpstr>
      <vt:lpstr>Expanding Resolution Window</vt:lpstr>
      <vt:lpstr>Expanding Resolution Window</vt:lpstr>
      <vt:lpstr>Python Implementation</vt:lpstr>
      <vt:lpstr>100 Runs Experiment Statistics</vt:lpstr>
      <vt:lpstr>Recap</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Salutation 72pt</dc:title>
  <dc:creator>Yasmin, Inge</dc:creator>
  <cp:lastModifiedBy>Poerwiyanto Poerwiyanto</cp:lastModifiedBy>
  <cp:revision>1</cp:revision>
  <dcterms:created xsi:type="dcterms:W3CDTF">2022-02-23T10:56:53Z</dcterms:created>
  <dcterms:modified xsi:type="dcterms:W3CDTF">2022-05-23T16:47:44Z</dcterms:modified>
</cp:coreProperties>
</file>